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2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3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5" r:id="rId2"/>
    <p:sldMasterId id="2147483732" r:id="rId3"/>
    <p:sldMasterId id="2147483747" r:id="rId4"/>
  </p:sldMasterIdLst>
  <p:notesMasterIdLst>
    <p:notesMasterId r:id="rId23"/>
  </p:notesMasterIdLst>
  <p:sldIdLst>
    <p:sldId id="2147483178" r:id="rId5"/>
    <p:sldId id="2147483337" r:id="rId6"/>
    <p:sldId id="2147483340" r:id="rId7"/>
    <p:sldId id="2147483338" r:id="rId8"/>
    <p:sldId id="2147483341" r:id="rId9"/>
    <p:sldId id="258" r:id="rId10"/>
    <p:sldId id="2147483261" r:id="rId11"/>
    <p:sldId id="2147483397" r:id="rId12"/>
    <p:sldId id="2147483339" r:id="rId13"/>
    <p:sldId id="2147483402" r:id="rId14"/>
    <p:sldId id="2147483401" r:id="rId15"/>
    <p:sldId id="2147483403" r:id="rId16"/>
    <p:sldId id="2147483398" r:id="rId17"/>
    <p:sldId id="2147483342" r:id="rId18"/>
    <p:sldId id="2147483343" r:id="rId19"/>
    <p:sldId id="2147483344" r:id="rId20"/>
    <p:sldId id="2147483404" r:id="rId21"/>
    <p:sldId id="2147483405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5762BB6-4A77-2949-970D-C11DCDDFE645}" v="12" dt="2025-05-14T18:57:38.86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7" d="100"/>
          <a:sy n="97" d="100"/>
        </p:scale>
        <p:origin x="107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iad, Marina" userId="S::riadma1@novartis.net::6ce9cbd4-2ef2-442e-816b-24ffa3528755" providerId="AD" clId="Web-{DC6384F4-FFBE-EC00-90E7-305825A486FD}"/>
    <pc:docChg chg="modSld">
      <pc:chgData name="Riad, Marina" userId="S::riadma1@novartis.net::6ce9cbd4-2ef2-442e-816b-24ffa3528755" providerId="AD" clId="Web-{DC6384F4-FFBE-EC00-90E7-305825A486FD}" dt="2025-05-06T17:27:14.946" v="240"/>
      <pc:docMkLst>
        <pc:docMk/>
      </pc:docMkLst>
      <pc:sldChg chg="modSp">
        <pc:chgData name="Riad, Marina" userId="S::riadma1@novartis.net::6ce9cbd4-2ef2-442e-816b-24ffa3528755" providerId="AD" clId="Web-{DC6384F4-FFBE-EC00-90E7-305825A486FD}" dt="2025-05-06T17:26:13.477" v="226" actId="14100"/>
        <pc:sldMkLst>
          <pc:docMk/>
          <pc:sldMk cId="2124841320" sldId="2147483344"/>
        </pc:sldMkLst>
        <pc:spChg chg="mod">
          <ac:chgData name="Riad, Marina" userId="S::riadma1@novartis.net::6ce9cbd4-2ef2-442e-816b-24ffa3528755" providerId="AD" clId="Web-{DC6384F4-FFBE-EC00-90E7-305825A486FD}" dt="2025-05-06T17:24:17.242" v="205" actId="20577"/>
          <ac:spMkLst>
            <pc:docMk/>
            <pc:sldMk cId="2124841320" sldId="2147483344"/>
            <ac:spMk id="2" creationId="{D68D068C-C712-097E-4435-D157CF500E43}"/>
          </ac:spMkLst>
        </pc:spChg>
        <pc:spChg chg="mod">
          <ac:chgData name="Riad, Marina" userId="S::riadma1@novartis.net::6ce9cbd4-2ef2-442e-816b-24ffa3528755" providerId="AD" clId="Web-{DC6384F4-FFBE-EC00-90E7-305825A486FD}" dt="2025-05-06T17:26:13.477" v="226" actId="14100"/>
          <ac:spMkLst>
            <pc:docMk/>
            <pc:sldMk cId="2124841320" sldId="2147483344"/>
            <ac:spMk id="5" creationId="{101BCBA4-A144-9C8D-5070-C42ACD97736C}"/>
          </ac:spMkLst>
        </pc:spChg>
        <pc:picChg chg="mod modCrop">
          <ac:chgData name="Riad, Marina" userId="S::riadma1@novartis.net::6ce9cbd4-2ef2-442e-816b-24ffa3528755" providerId="AD" clId="Web-{DC6384F4-FFBE-EC00-90E7-305825A486FD}" dt="2025-05-06T17:23:50.274" v="187" actId="1076"/>
          <ac:picMkLst>
            <pc:docMk/>
            <pc:sldMk cId="2124841320" sldId="2147483344"/>
            <ac:picMk id="3" creationId="{0D651F45-23EE-122D-05DF-0ABF5ACA7830}"/>
          </ac:picMkLst>
        </pc:picChg>
      </pc:sldChg>
      <pc:sldChg chg="addSp modSp">
        <pc:chgData name="Riad, Marina" userId="S::riadma1@novartis.net::6ce9cbd4-2ef2-442e-816b-24ffa3528755" providerId="AD" clId="Web-{DC6384F4-FFBE-EC00-90E7-305825A486FD}" dt="2025-05-06T17:27:14.946" v="240"/>
        <pc:sldMkLst>
          <pc:docMk/>
          <pc:sldMk cId="876579226" sldId="2147483404"/>
        </pc:sldMkLst>
        <pc:spChg chg="add mod">
          <ac:chgData name="Riad, Marina" userId="S::riadma1@novartis.net::6ce9cbd4-2ef2-442e-816b-24ffa3528755" providerId="AD" clId="Web-{DC6384F4-FFBE-EC00-90E7-305825A486FD}" dt="2025-05-06T17:26:48.337" v="237" actId="20577"/>
          <ac:spMkLst>
            <pc:docMk/>
            <pc:sldMk cId="876579226" sldId="2147483404"/>
            <ac:spMk id="2" creationId="{057AE3C5-5368-F0C9-1A4D-CBE3E6CA4872}"/>
          </ac:spMkLst>
        </pc:spChg>
      </pc:sldChg>
    </pc:docChg>
  </pc:docChgLst>
  <pc:docChgLst>
    <pc:chgData name="Kouyoumdjian, Alanna" userId="1d7bb69d-7626-49b7-b466-9f531649a8d2" providerId="ADAL" clId="{31504530-45E7-4883-AF5B-36A75A7EF7A7}"/>
    <pc:docChg chg="undo custSel addSld delSld modSld sldOrd">
      <pc:chgData name="Kouyoumdjian, Alanna" userId="1d7bb69d-7626-49b7-b466-9f531649a8d2" providerId="ADAL" clId="{31504530-45E7-4883-AF5B-36A75A7EF7A7}" dt="2025-05-09T13:57:38.555" v="1893" actId="403"/>
      <pc:docMkLst>
        <pc:docMk/>
      </pc:docMkLst>
      <pc:sldChg chg="modSp add del mod">
        <pc:chgData name="Kouyoumdjian, Alanna" userId="1d7bb69d-7626-49b7-b466-9f531649a8d2" providerId="ADAL" clId="{31504530-45E7-4883-AF5B-36A75A7EF7A7}" dt="2025-05-05T23:37:24.624" v="488" actId="47"/>
        <pc:sldMkLst>
          <pc:docMk/>
          <pc:sldMk cId="2142184701" sldId="262"/>
        </pc:sldMkLst>
      </pc:sldChg>
      <pc:sldChg chg="addSp delSp modSp add mod modNotesTx">
        <pc:chgData name="Kouyoumdjian, Alanna" userId="1d7bb69d-7626-49b7-b466-9f531649a8d2" providerId="ADAL" clId="{31504530-45E7-4883-AF5B-36A75A7EF7A7}" dt="2025-05-07T13:23:52" v="1857" actId="20577"/>
        <pc:sldMkLst>
          <pc:docMk/>
          <pc:sldMk cId="605835576" sldId="2147483261"/>
        </pc:sldMkLst>
        <pc:spChg chg="mod">
          <ac:chgData name="Kouyoumdjian, Alanna" userId="1d7bb69d-7626-49b7-b466-9f531649a8d2" providerId="ADAL" clId="{31504530-45E7-4883-AF5B-36A75A7EF7A7}" dt="2025-05-06T00:05:46.063" v="1548" actId="108"/>
          <ac:spMkLst>
            <pc:docMk/>
            <pc:sldMk cId="605835576" sldId="2147483261"/>
            <ac:spMk id="2" creationId="{8942DFD0-1F61-43B6-E9BA-6478B0A1963B}"/>
          </ac:spMkLst>
        </pc:spChg>
        <pc:spChg chg="mod">
          <ac:chgData name="Kouyoumdjian, Alanna" userId="1d7bb69d-7626-49b7-b466-9f531649a8d2" providerId="ADAL" clId="{31504530-45E7-4883-AF5B-36A75A7EF7A7}" dt="2025-05-06T00:18:31.358" v="1645" actId="14100"/>
          <ac:spMkLst>
            <pc:docMk/>
            <pc:sldMk cId="605835576" sldId="2147483261"/>
            <ac:spMk id="6" creationId="{EFB65E36-F5C8-23BD-218C-5B6D0BB2770A}"/>
          </ac:spMkLst>
        </pc:spChg>
        <pc:spChg chg="mod">
          <ac:chgData name="Kouyoumdjian, Alanna" userId="1d7bb69d-7626-49b7-b466-9f531649a8d2" providerId="ADAL" clId="{31504530-45E7-4883-AF5B-36A75A7EF7A7}" dt="2025-05-06T00:05:19.675" v="1547" actId="255"/>
          <ac:spMkLst>
            <pc:docMk/>
            <pc:sldMk cId="605835576" sldId="2147483261"/>
            <ac:spMk id="10" creationId="{C6304635-9092-A180-4B46-7539E6C46E7E}"/>
          </ac:spMkLst>
        </pc:spChg>
        <pc:spChg chg="mod">
          <ac:chgData name="Kouyoumdjian, Alanna" userId="1d7bb69d-7626-49b7-b466-9f531649a8d2" providerId="ADAL" clId="{31504530-45E7-4883-AF5B-36A75A7EF7A7}" dt="2025-05-07T13:23:52" v="1857" actId="20577"/>
          <ac:spMkLst>
            <pc:docMk/>
            <pc:sldMk cId="605835576" sldId="2147483261"/>
            <ac:spMk id="15" creationId="{F07C0F06-3E72-31C2-138F-971433E11511}"/>
          </ac:spMkLst>
        </pc:spChg>
        <pc:spChg chg="mod">
          <ac:chgData name="Kouyoumdjian, Alanna" userId="1d7bb69d-7626-49b7-b466-9f531649a8d2" providerId="ADAL" clId="{31504530-45E7-4883-AF5B-36A75A7EF7A7}" dt="2025-05-06T00:02:37.771" v="1488" actId="14100"/>
          <ac:spMkLst>
            <pc:docMk/>
            <pc:sldMk cId="605835576" sldId="2147483261"/>
            <ac:spMk id="17" creationId="{7174F9A6-9688-11BA-F959-07ED9499DC93}"/>
          </ac:spMkLst>
        </pc:spChg>
        <pc:spChg chg="add mod">
          <ac:chgData name="Kouyoumdjian, Alanna" userId="1d7bb69d-7626-49b7-b466-9f531649a8d2" providerId="ADAL" clId="{31504530-45E7-4883-AF5B-36A75A7EF7A7}" dt="2025-05-05T23:31:13.335" v="438" actId="1076"/>
          <ac:spMkLst>
            <pc:docMk/>
            <pc:sldMk cId="605835576" sldId="2147483261"/>
            <ac:spMk id="23" creationId="{CA952C0C-8757-FB97-4930-9E433BC68759}"/>
          </ac:spMkLst>
        </pc:spChg>
        <pc:spChg chg="add del mod">
          <ac:chgData name="Kouyoumdjian, Alanna" userId="1d7bb69d-7626-49b7-b466-9f531649a8d2" providerId="ADAL" clId="{31504530-45E7-4883-AF5B-36A75A7EF7A7}" dt="2025-05-06T00:04:57.351" v="1540" actId="113"/>
          <ac:spMkLst>
            <pc:docMk/>
            <pc:sldMk cId="605835576" sldId="2147483261"/>
            <ac:spMk id="24" creationId="{6A3DC365-F3D0-2A7E-B699-863327E26AC1}"/>
          </ac:spMkLst>
        </pc:spChg>
        <pc:spChg chg="add mod">
          <ac:chgData name="Kouyoumdjian, Alanna" userId="1d7bb69d-7626-49b7-b466-9f531649a8d2" providerId="ADAL" clId="{31504530-45E7-4883-AF5B-36A75A7EF7A7}" dt="2025-05-05T23:52:26.547" v="687" actId="6549"/>
          <ac:spMkLst>
            <pc:docMk/>
            <pc:sldMk cId="605835576" sldId="2147483261"/>
            <ac:spMk id="25" creationId="{6F454855-D680-1B03-2E9A-DB391E2EBEFA}"/>
          </ac:spMkLst>
        </pc:spChg>
        <pc:spChg chg="mod">
          <ac:chgData name="Kouyoumdjian, Alanna" userId="1d7bb69d-7626-49b7-b466-9f531649a8d2" providerId="ADAL" clId="{31504530-45E7-4883-AF5B-36A75A7EF7A7}" dt="2025-05-05T23:30:34.094" v="424" actId="1076"/>
          <ac:spMkLst>
            <pc:docMk/>
            <pc:sldMk cId="605835576" sldId="2147483261"/>
            <ac:spMk id="27" creationId="{3FD45373-6FF1-E7B4-E238-B7638441406A}"/>
          </ac:spMkLst>
        </pc:spChg>
        <pc:spChg chg="add mod">
          <ac:chgData name="Kouyoumdjian, Alanna" userId="1d7bb69d-7626-49b7-b466-9f531649a8d2" providerId="ADAL" clId="{31504530-45E7-4883-AF5B-36A75A7EF7A7}" dt="2025-05-05T23:55:25.542" v="957" actId="14100"/>
          <ac:spMkLst>
            <pc:docMk/>
            <pc:sldMk cId="605835576" sldId="2147483261"/>
            <ac:spMk id="28" creationId="{DDB6B6C5-0D63-5F8E-47B4-734D6B12728D}"/>
          </ac:spMkLst>
        </pc:spChg>
        <pc:spChg chg="mod">
          <ac:chgData name="Kouyoumdjian, Alanna" userId="1d7bb69d-7626-49b7-b466-9f531649a8d2" providerId="ADAL" clId="{31504530-45E7-4883-AF5B-36A75A7EF7A7}" dt="2025-05-05T23:30:04.370" v="412" actId="1076"/>
          <ac:spMkLst>
            <pc:docMk/>
            <pc:sldMk cId="605835576" sldId="2147483261"/>
            <ac:spMk id="30" creationId="{20C5764B-337D-898E-4608-7771C88CA9B4}"/>
          </ac:spMkLst>
        </pc:spChg>
        <pc:spChg chg="add mod">
          <ac:chgData name="Kouyoumdjian, Alanna" userId="1d7bb69d-7626-49b7-b466-9f531649a8d2" providerId="ADAL" clId="{31504530-45E7-4883-AF5B-36A75A7EF7A7}" dt="2025-05-05T23:34:03.036" v="466" actId="1076"/>
          <ac:spMkLst>
            <pc:docMk/>
            <pc:sldMk cId="605835576" sldId="2147483261"/>
            <ac:spMk id="34" creationId="{50361E9A-B171-AD30-10C7-922BA947EAB5}"/>
          </ac:spMkLst>
        </pc:spChg>
        <pc:spChg chg="add mod">
          <ac:chgData name="Kouyoumdjian, Alanna" userId="1d7bb69d-7626-49b7-b466-9f531649a8d2" providerId="ADAL" clId="{31504530-45E7-4883-AF5B-36A75A7EF7A7}" dt="2025-05-05T23:46:09.523" v="526" actId="20577"/>
          <ac:spMkLst>
            <pc:docMk/>
            <pc:sldMk cId="605835576" sldId="2147483261"/>
            <ac:spMk id="35" creationId="{02A122B7-0919-4653-4A4C-8E142596C828}"/>
          </ac:spMkLst>
        </pc:spChg>
        <pc:spChg chg="add mod">
          <ac:chgData name="Kouyoumdjian, Alanna" userId="1d7bb69d-7626-49b7-b466-9f531649a8d2" providerId="ADAL" clId="{31504530-45E7-4883-AF5B-36A75A7EF7A7}" dt="2025-05-05T23:30:01.814" v="411" actId="1076"/>
          <ac:spMkLst>
            <pc:docMk/>
            <pc:sldMk cId="605835576" sldId="2147483261"/>
            <ac:spMk id="36" creationId="{E0180223-937B-08A0-6798-6FB1FC4553FF}"/>
          </ac:spMkLst>
        </pc:spChg>
        <pc:spChg chg="add mod">
          <ac:chgData name="Kouyoumdjian, Alanna" userId="1d7bb69d-7626-49b7-b466-9f531649a8d2" providerId="ADAL" clId="{31504530-45E7-4883-AF5B-36A75A7EF7A7}" dt="2025-05-06T00:18:19.342" v="1644" actId="1076"/>
          <ac:spMkLst>
            <pc:docMk/>
            <pc:sldMk cId="605835576" sldId="2147483261"/>
            <ac:spMk id="39" creationId="{D0151727-02A8-83C6-D4BF-FE2E5A15FC27}"/>
          </ac:spMkLst>
        </pc:spChg>
        <pc:spChg chg="add mod">
          <ac:chgData name="Kouyoumdjian, Alanna" userId="1d7bb69d-7626-49b7-b466-9f531649a8d2" providerId="ADAL" clId="{31504530-45E7-4883-AF5B-36A75A7EF7A7}" dt="2025-05-05T23:34:48.925" v="474" actId="1076"/>
          <ac:spMkLst>
            <pc:docMk/>
            <pc:sldMk cId="605835576" sldId="2147483261"/>
            <ac:spMk id="40" creationId="{235098FF-BC49-A70D-726B-541F0553ADE1}"/>
          </ac:spMkLst>
        </pc:spChg>
        <pc:spChg chg="add mod">
          <ac:chgData name="Kouyoumdjian, Alanna" userId="1d7bb69d-7626-49b7-b466-9f531649a8d2" providerId="ADAL" clId="{31504530-45E7-4883-AF5B-36A75A7EF7A7}" dt="2025-05-05T23:34:20.348" v="469" actId="1076"/>
          <ac:spMkLst>
            <pc:docMk/>
            <pc:sldMk cId="605835576" sldId="2147483261"/>
            <ac:spMk id="42" creationId="{F9CAB18A-96C3-CF22-1C23-266598F8B0CE}"/>
          </ac:spMkLst>
        </pc:spChg>
        <pc:spChg chg="add mod">
          <ac:chgData name="Kouyoumdjian, Alanna" userId="1d7bb69d-7626-49b7-b466-9f531649a8d2" providerId="ADAL" clId="{31504530-45E7-4883-AF5B-36A75A7EF7A7}" dt="2025-05-05T23:36:11.356" v="481" actId="1076"/>
          <ac:spMkLst>
            <pc:docMk/>
            <pc:sldMk cId="605835576" sldId="2147483261"/>
            <ac:spMk id="43" creationId="{8CB77758-2AD5-A049-ADD6-425E6D79A0B1}"/>
          </ac:spMkLst>
        </pc:spChg>
        <pc:spChg chg="mod">
          <ac:chgData name="Kouyoumdjian, Alanna" userId="1d7bb69d-7626-49b7-b466-9f531649a8d2" providerId="ADAL" clId="{31504530-45E7-4883-AF5B-36A75A7EF7A7}" dt="2025-05-05T23:34:17.188" v="468" actId="1076"/>
          <ac:spMkLst>
            <pc:docMk/>
            <pc:sldMk cId="605835576" sldId="2147483261"/>
            <ac:spMk id="53" creationId="{4536F470-A109-D0DD-27A3-2A8148C99639}"/>
          </ac:spMkLst>
        </pc:spChg>
      </pc:sldChg>
      <pc:sldChg chg="modSp add del mod">
        <pc:chgData name="Kouyoumdjian, Alanna" userId="1d7bb69d-7626-49b7-b466-9f531649a8d2" providerId="ADAL" clId="{31504530-45E7-4883-AF5B-36A75A7EF7A7}" dt="2025-05-05T23:21:32.877" v="291" actId="47"/>
        <pc:sldMkLst>
          <pc:docMk/>
          <pc:sldMk cId="367525858" sldId="2147483262"/>
        </pc:sldMkLst>
      </pc:sldChg>
      <pc:sldChg chg="addSp delSp modSp add del mod">
        <pc:chgData name="Kouyoumdjian, Alanna" userId="1d7bb69d-7626-49b7-b466-9f531649a8d2" providerId="ADAL" clId="{31504530-45E7-4883-AF5B-36A75A7EF7A7}" dt="2025-05-05T23:01:06.062" v="17" actId="47"/>
        <pc:sldMkLst>
          <pc:docMk/>
          <pc:sldMk cId="3586418448" sldId="2147483313"/>
        </pc:sldMkLst>
      </pc:sldChg>
      <pc:sldChg chg="modSp mod ord">
        <pc:chgData name="Kouyoumdjian, Alanna" userId="1d7bb69d-7626-49b7-b466-9f531649a8d2" providerId="ADAL" clId="{31504530-45E7-4883-AF5B-36A75A7EF7A7}" dt="2025-05-05T23:37:07.244" v="486" actId="790"/>
        <pc:sldMkLst>
          <pc:docMk/>
          <pc:sldMk cId="1085227940" sldId="2147483339"/>
        </pc:sldMkLst>
        <pc:spChg chg="mod">
          <ac:chgData name="Kouyoumdjian, Alanna" userId="1d7bb69d-7626-49b7-b466-9f531649a8d2" providerId="ADAL" clId="{31504530-45E7-4883-AF5B-36A75A7EF7A7}" dt="2025-05-05T23:37:07.244" v="486" actId="790"/>
          <ac:spMkLst>
            <pc:docMk/>
            <pc:sldMk cId="1085227940" sldId="2147483339"/>
            <ac:spMk id="7" creationId="{C4C236CD-7063-7524-00DF-79CFFFCE3F45}"/>
          </ac:spMkLst>
        </pc:spChg>
      </pc:sldChg>
      <pc:sldChg chg="modSp mod">
        <pc:chgData name="Kouyoumdjian, Alanna" userId="1d7bb69d-7626-49b7-b466-9f531649a8d2" providerId="ADAL" clId="{31504530-45E7-4883-AF5B-36A75A7EF7A7}" dt="2025-05-06T17:56:43.814" v="1831" actId="6549"/>
        <pc:sldMkLst>
          <pc:docMk/>
          <pc:sldMk cId="3196261633" sldId="2147483340"/>
        </pc:sldMkLst>
        <pc:spChg chg="mod">
          <ac:chgData name="Kouyoumdjian, Alanna" userId="1d7bb69d-7626-49b7-b466-9f531649a8d2" providerId="ADAL" clId="{31504530-45E7-4883-AF5B-36A75A7EF7A7}" dt="2025-05-06T17:56:43.814" v="1831" actId="6549"/>
          <ac:spMkLst>
            <pc:docMk/>
            <pc:sldMk cId="3196261633" sldId="2147483340"/>
            <ac:spMk id="6" creationId="{5D94DAE1-1E44-C305-28DC-BC46BC0F373F}"/>
          </ac:spMkLst>
        </pc:spChg>
      </pc:sldChg>
      <pc:sldChg chg="modSp add del mod">
        <pc:chgData name="Kouyoumdjian, Alanna" userId="1d7bb69d-7626-49b7-b466-9f531649a8d2" providerId="ADAL" clId="{31504530-45E7-4883-AF5B-36A75A7EF7A7}" dt="2025-05-05T23:38:43.205" v="495" actId="47"/>
        <pc:sldMkLst>
          <pc:docMk/>
          <pc:sldMk cId="1555220004" sldId="2147483382"/>
        </pc:sldMkLst>
      </pc:sldChg>
      <pc:sldChg chg="modSp add del mod">
        <pc:chgData name="Kouyoumdjian, Alanna" userId="1d7bb69d-7626-49b7-b466-9f531649a8d2" providerId="ADAL" clId="{31504530-45E7-4883-AF5B-36A75A7EF7A7}" dt="2025-05-06T00:17:06.437" v="1643" actId="47"/>
        <pc:sldMkLst>
          <pc:docMk/>
          <pc:sldMk cId="890042517" sldId="2147483396"/>
        </pc:sldMkLst>
      </pc:sldChg>
      <pc:sldChg chg="add del ord">
        <pc:chgData name="Kouyoumdjian, Alanna" userId="1d7bb69d-7626-49b7-b466-9f531649a8d2" providerId="ADAL" clId="{31504530-45E7-4883-AF5B-36A75A7EF7A7}" dt="2025-05-05T23:38:58.587" v="497"/>
        <pc:sldMkLst>
          <pc:docMk/>
          <pc:sldMk cId="1070822071" sldId="2147483397"/>
        </pc:sldMkLst>
      </pc:sldChg>
      <pc:sldChg chg="modSp add del mod">
        <pc:chgData name="Kouyoumdjian, Alanna" userId="1d7bb69d-7626-49b7-b466-9f531649a8d2" providerId="ADAL" clId="{31504530-45E7-4883-AF5B-36A75A7EF7A7}" dt="2025-05-07T13:25:49.997" v="1858" actId="6549"/>
        <pc:sldMkLst>
          <pc:docMk/>
          <pc:sldMk cId="2624822906" sldId="2147483398"/>
        </pc:sldMkLst>
        <pc:spChg chg="mod">
          <ac:chgData name="Kouyoumdjian, Alanna" userId="1d7bb69d-7626-49b7-b466-9f531649a8d2" providerId="ADAL" clId="{31504530-45E7-4883-AF5B-36A75A7EF7A7}" dt="2025-05-07T13:25:49.997" v="1858" actId="6549"/>
          <ac:spMkLst>
            <pc:docMk/>
            <pc:sldMk cId="2624822906" sldId="2147483398"/>
            <ac:spMk id="2" creationId="{15DE7E0B-00DC-09A0-AD19-13AC44360EBC}"/>
          </ac:spMkLst>
        </pc:spChg>
        <pc:picChg chg="mod">
          <ac:chgData name="Kouyoumdjian, Alanna" userId="1d7bb69d-7626-49b7-b466-9f531649a8d2" providerId="ADAL" clId="{31504530-45E7-4883-AF5B-36A75A7EF7A7}" dt="2025-05-05T23:05:35.575" v="44" actId="14100"/>
          <ac:picMkLst>
            <pc:docMk/>
            <pc:sldMk cId="2624822906" sldId="2147483398"/>
            <ac:picMk id="16" creationId="{266F16E9-4CD5-8285-F3F5-663FB4958539}"/>
          </ac:picMkLst>
        </pc:picChg>
        <pc:picChg chg="mod">
          <ac:chgData name="Kouyoumdjian, Alanna" userId="1d7bb69d-7626-49b7-b466-9f531649a8d2" providerId="ADAL" clId="{31504530-45E7-4883-AF5B-36A75A7EF7A7}" dt="2025-05-05T23:05:29.728" v="42" actId="14100"/>
          <ac:picMkLst>
            <pc:docMk/>
            <pc:sldMk cId="2624822906" sldId="2147483398"/>
            <ac:picMk id="18" creationId="{E2F8C6F2-614B-0118-9591-D972510AD686}"/>
          </ac:picMkLst>
        </pc:picChg>
        <pc:picChg chg="mod">
          <ac:chgData name="Kouyoumdjian, Alanna" userId="1d7bb69d-7626-49b7-b466-9f531649a8d2" providerId="ADAL" clId="{31504530-45E7-4883-AF5B-36A75A7EF7A7}" dt="2025-05-05T23:05:37.449" v="45" actId="1076"/>
          <ac:picMkLst>
            <pc:docMk/>
            <pc:sldMk cId="2624822906" sldId="2147483398"/>
            <ac:picMk id="22" creationId="{5ADFD61D-C97C-D393-BD61-03A0BC820D75}"/>
          </ac:picMkLst>
        </pc:picChg>
      </pc:sldChg>
      <pc:sldChg chg="modSp add del mod">
        <pc:chgData name="Kouyoumdjian, Alanna" userId="1d7bb69d-7626-49b7-b466-9f531649a8d2" providerId="ADAL" clId="{31504530-45E7-4883-AF5B-36A75A7EF7A7}" dt="2025-05-05T22:52:22.086" v="10" actId="47"/>
        <pc:sldMkLst>
          <pc:docMk/>
          <pc:sldMk cId="1061283261" sldId="2147483400"/>
        </pc:sldMkLst>
      </pc:sldChg>
      <pc:sldChg chg="addSp modSp add del mod ord">
        <pc:chgData name="Kouyoumdjian, Alanna" userId="1d7bb69d-7626-49b7-b466-9f531649a8d2" providerId="ADAL" clId="{31504530-45E7-4883-AF5B-36A75A7EF7A7}" dt="2025-05-09T13:08:18.705" v="1873" actId="404"/>
        <pc:sldMkLst>
          <pc:docMk/>
          <pc:sldMk cId="3852917763" sldId="2147483401"/>
        </pc:sldMkLst>
        <pc:spChg chg="add mod">
          <ac:chgData name="Kouyoumdjian, Alanna" userId="1d7bb69d-7626-49b7-b466-9f531649a8d2" providerId="ADAL" clId="{31504530-45E7-4883-AF5B-36A75A7EF7A7}" dt="2025-05-09T13:08:18.705" v="1873" actId="404"/>
          <ac:spMkLst>
            <pc:docMk/>
            <pc:sldMk cId="3852917763" sldId="2147483401"/>
            <ac:spMk id="2" creationId="{95BF697C-CD1F-08FC-4FEE-AD17D02769FA}"/>
          </ac:spMkLst>
        </pc:spChg>
        <pc:spChg chg="mod">
          <ac:chgData name="Kouyoumdjian, Alanna" userId="1d7bb69d-7626-49b7-b466-9f531649a8d2" providerId="ADAL" clId="{31504530-45E7-4883-AF5B-36A75A7EF7A7}" dt="2025-05-07T14:00:21.966" v="1859" actId="6549"/>
          <ac:spMkLst>
            <pc:docMk/>
            <pc:sldMk cId="3852917763" sldId="2147483401"/>
            <ac:spMk id="7" creationId="{40CEDFE8-3610-F2DB-EABF-B9885ACBD52F}"/>
          </ac:spMkLst>
        </pc:spChg>
        <pc:spChg chg="mod">
          <ac:chgData name="Kouyoumdjian, Alanna" userId="1d7bb69d-7626-49b7-b466-9f531649a8d2" providerId="ADAL" clId="{31504530-45E7-4883-AF5B-36A75A7EF7A7}" dt="2025-05-06T00:15:26.454" v="1640" actId="1076"/>
          <ac:spMkLst>
            <pc:docMk/>
            <pc:sldMk cId="3852917763" sldId="2147483401"/>
            <ac:spMk id="10" creationId="{55F25614-F397-FC6C-4E6F-C9701F701547}"/>
          </ac:spMkLst>
        </pc:spChg>
        <pc:spChg chg="mod">
          <ac:chgData name="Kouyoumdjian, Alanna" userId="1d7bb69d-7626-49b7-b466-9f531649a8d2" providerId="ADAL" clId="{31504530-45E7-4883-AF5B-36A75A7EF7A7}" dt="2025-05-06T00:14:58.776" v="1610" actId="1076"/>
          <ac:spMkLst>
            <pc:docMk/>
            <pc:sldMk cId="3852917763" sldId="2147483401"/>
            <ac:spMk id="43" creationId="{CEF696A7-F67D-AF8D-944B-77437D443DC5}"/>
          </ac:spMkLst>
        </pc:spChg>
        <pc:spChg chg="mod">
          <ac:chgData name="Kouyoumdjian, Alanna" userId="1d7bb69d-7626-49b7-b466-9f531649a8d2" providerId="ADAL" clId="{31504530-45E7-4883-AF5B-36A75A7EF7A7}" dt="2025-05-06T00:15:01.256" v="1611" actId="1076"/>
          <ac:spMkLst>
            <pc:docMk/>
            <pc:sldMk cId="3852917763" sldId="2147483401"/>
            <ac:spMk id="44" creationId="{9EE3DFB5-926F-0AE3-146A-9683CCEC2659}"/>
          </ac:spMkLst>
        </pc:spChg>
        <pc:spChg chg="mod">
          <ac:chgData name="Kouyoumdjian, Alanna" userId="1d7bb69d-7626-49b7-b466-9f531649a8d2" providerId="ADAL" clId="{31504530-45E7-4883-AF5B-36A75A7EF7A7}" dt="2025-05-06T00:15:18.946" v="1639" actId="20577"/>
          <ac:spMkLst>
            <pc:docMk/>
            <pc:sldMk cId="3852917763" sldId="2147483401"/>
            <ac:spMk id="45" creationId="{3D1A5D1A-63D9-8BA7-A588-58C4AA1027E0}"/>
          </ac:spMkLst>
        </pc:spChg>
        <pc:spChg chg="mod">
          <ac:chgData name="Kouyoumdjian, Alanna" userId="1d7bb69d-7626-49b7-b466-9f531649a8d2" providerId="ADAL" clId="{31504530-45E7-4883-AF5B-36A75A7EF7A7}" dt="2025-05-06T00:15:06.990" v="1613" actId="1076"/>
          <ac:spMkLst>
            <pc:docMk/>
            <pc:sldMk cId="3852917763" sldId="2147483401"/>
            <ac:spMk id="46" creationId="{7055C398-0EFC-3FCE-C3EB-5FE2B1FD23A1}"/>
          </ac:spMkLst>
        </pc:spChg>
        <pc:spChg chg="mod">
          <ac:chgData name="Kouyoumdjian, Alanna" userId="1d7bb69d-7626-49b7-b466-9f531649a8d2" providerId="ADAL" clId="{31504530-45E7-4883-AF5B-36A75A7EF7A7}" dt="2025-05-06T00:15:09.739" v="1614" actId="1076"/>
          <ac:spMkLst>
            <pc:docMk/>
            <pc:sldMk cId="3852917763" sldId="2147483401"/>
            <ac:spMk id="47" creationId="{73E1F837-9B06-6B1D-45E5-45599AEC6D06}"/>
          </ac:spMkLst>
        </pc:spChg>
        <pc:picChg chg="mod">
          <ac:chgData name="Kouyoumdjian, Alanna" userId="1d7bb69d-7626-49b7-b466-9f531649a8d2" providerId="ADAL" clId="{31504530-45E7-4883-AF5B-36A75A7EF7A7}" dt="2025-05-09T13:08:04.764" v="1868" actId="1076"/>
          <ac:picMkLst>
            <pc:docMk/>
            <pc:sldMk cId="3852917763" sldId="2147483401"/>
            <ac:picMk id="42" creationId="{4DC69A33-9A6D-DD52-5002-A9E718BAE02D}"/>
          </ac:picMkLst>
        </pc:picChg>
      </pc:sldChg>
      <pc:sldChg chg="modSp add mod modShow">
        <pc:chgData name="Kouyoumdjian, Alanna" userId="1d7bb69d-7626-49b7-b466-9f531649a8d2" providerId="ADAL" clId="{31504530-45E7-4883-AF5B-36A75A7EF7A7}" dt="2025-05-09T13:10:30.025" v="1874" actId="729"/>
        <pc:sldMkLst>
          <pc:docMk/>
          <pc:sldMk cId="2565843428" sldId="2147483402"/>
        </pc:sldMkLst>
        <pc:spChg chg="mod">
          <ac:chgData name="Kouyoumdjian, Alanna" userId="1d7bb69d-7626-49b7-b466-9f531649a8d2" providerId="ADAL" clId="{31504530-45E7-4883-AF5B-36A75A7EF7A7}" dt="2025-05-07T13:20:10.734" v="1852" actId="27636"/>
          <ac:spMkLst>
            <pc:docMk/>
            <pc:sldMk cId="2565843428" sldId="2147483402"/>
            <ac:spMk id="9" creationId="{354612D8-1F1C-5982-4F17-8335DCD46D73}"/>
          </ac:spMkLst>
        </pc:spChg>
      </pc:sldChg>
      <pc:sldChg chg="addSp delSp modSp new del mod">
        <pc:chgData name="Kouyoumdjian, Alanna" userId="1d7bb69d-7626-49b7-b466-9f531649a8d2" providerId="ADAL" clId="{31504530-45E7-4883-AF5B-36A75A7EF7A7}" dt="2025-05-05T23:14:31.642" v="158" actId="47"/>
        <pc:sldMkLst>
          <pc:docMk/>
          <pc:sldMk cId="2800917867" sldId="2147483402"/>
        </pc:sldMkLst>
      </pc:sldChg>
      <pc:sldChg chg="delSp modSp new del mod">
        <pc:chgData name="Kouyoumdjian, Alanna" userId="1d7bb69d-7626-49b7-b466-9f531649a8d2" providerId="ADAL" clId="{31504530-45E7-4883-AF5B-36A75A7EF7A7}" dt="2025-05-05T23:10:55.311" v="141" actId="47"/>
        <pc:sldMkLst>
          <pc:docMk/>
          <pc:sldMk cId="3546521096" sldId="2147483402"/>
        </pc:sldMkLst>
      </pc:sldChg>
      <pc:sldChg chg="add del">
        <pc:chgData name="Kouyoumdjian, Alanna" userId="1d7bb69d-7626-49b7-b466-9f531649a8d2" providerId="ADAL" clId="{31504530-45E7-4883-AF5B-36A75A7EF7A7}" dt="2025-05-05T22:52:26.565" v="11" actId="47"/>
        <pc:sldMkLst>
          <pc:docMk/>
          <pc:sldMk cId="3570024298" sldId="2147483402"/>
        </pc:sldMkLst>
      </pc:sldChg>
      <pc:sldChg chg="addSp modSp add mod">
        <pc:chgData name="Kouyoumdjian, Alanna" userId="1d7bb69d-7626-49b7-b466-9f531649a8d2" providerId="ADAL" clId="{31504530-45E7-4883-AF5B-36A75A7EF7A7}" dt="2025-05-09T13:57:38.555" v="1893" actId="403"/>
        <pc:sldMkLst>
          <pc:docMk/>
          <pc:sldMk cId="1538661341" sldId="2147483403"/>
        </pc:sldMkLst>
        <pc:spChg chg="add mod">
          <ac:chgData name="Kouyoumdjian, Alanna" userId="1d7bb69d-7626-49b7-b466-9f531649a8d2" providerId="ADAL" clId="{31504530-45E7-4883-AF5B-36A75A7EF7A7}" dt="2025-05-09T13:57:38.555" v="1893" actId="403"/>
          <ac:spMkLst>
            <pc:docMk/>
            <pc:sldMk cId="1538661341" sldId="2147483403"/>
            <ac:spMk id="3" creationId="{B7E14DC0-E340-BC77-F51A-95D40C21B4E0}"/>
          </ac:spMkLst>
        </pc:spChg>
        <pc:spChg chg="mod">
          <ac:chgData name="Kouyoumdjian, Alanna" userId="1d7bb69d-7626-49b7-b466-9f531649a8d2" providerId="ADAL" clId="{31504530-45E7-4883-AF5B-36A75A7EF7A7}" dt="2025-05-07T13:19:56.104" v="1848" actId="20577"/>
          <ac:spMkLst>
            <pc:docMk/>
            <pc:sldMk cId="1538661341" sldId="2147483403"/>
            <ac:spMk id="5" creationId="{BB1304CB-E19D-3938-D0B9-F792A3A1D792}"/>
          </ac:spMkLst>
        </pc:spChg>
        <pc:spChg chg="mod">
          <ac:chgData name="Kouyoumdjian, Alanna" userId="1d7bb69d-7626-49b7-b466-9f531649a8d2" providerId="ADAL" clId="{31504530-45E7-4883-AF5B-36A75A7EF7A7}" dt="2025-05-09T13:57:11.336" v="1885" actId="14100"/>
          <ac:spMkLst>
            <pc:docMk/>
            <pc:sldMk cId="1538661341" sldId="2147483403"/>
            <ac:spMk id="7" creationId="{D7AB26C8-D5A6-7FC1-FA5C-0EF0DFDCCAEA}"/>
          </ac:spMkLst>
        </pc:spChg>
      </pc:sldChg>
      <pc:sldChg chg="modSp add del mod">
        <pc:chgData name="Kouyoumdjian, Alanna" userId="1d7bb69d-7626-49b7-b466-9f531649a8d2" providerId="ADAL" clId="{31504530-45E7-4883-AF5B-36A75A7EF7A7}" dt="2025-05-05T23:05:11.408" v="40" actId="47"/>
        <pc:sldMkLst>
          <pc:docMk/>
          <pc:sldMk cId="2069777327" sldId="2147483403"/>
        </pc:sldMkLst>
      </pc:sldChg>
      <pc:sldChg chg="delSp modSp add del mod">
        <pc:chgData name="Kouyoumdjian, Alanna" userId="1d7bb69d-7626-49b7-b466-9f531649a8d2" providerId="ADAL" clId="{31504530-45E7-4883-AF5B-36A75A7EF7A7}" dt="2025-05-05T23:08:54.067" v="114" actId="47"/>
        <pc:sldMkLst>
          <pc:docMk/>
          <pc:sldMk cId="792317323" sldId="2147483404"/>
        </pc:sldMkLst>
      </pc:sldChg>
      <pc:sldMasterChg chg="delSldLayout">
        <pc:chgData name="Kouyoumdjian, Alanna" userId="1d7bb69d-7626-49b7-b466-9f531649a8d2" providerId="ADAL" clId="{31504530-45E7-4883-AF5B-36A75A7EF7A7}" dt="2025-05-05T23:37:28.472" v="489" actId="47"/>
        <pc:sldMasterMkLst>
          <pc:docMk/>
          <pc:sldMasterMk cId="2453020921" sldId="2147483732"/>
        </pc:sldMasterMkLst>
        <pc:sldLayoutChg chg="del">
          <pc:chgData name="Kouyoumdjian, Alanna" userId="1d7bb69d-7626-49b7-b466-9f531649a8d2" providerId="ADAL" clId="{31504530-45E7-4883-AF5B-36A75A7EF7A7}" dt="2025-05-05T23:01:06.062" v="17" actId="47"/>
          <pc:sldLayoutMkLst>
            <pc:docMk/>
            <pc:sldMasterMk cId="2453020921" sldId="2147483732"/>
            <pc:sldLayoutMk cId="1189088660" sldId="2147483744"/>
          </pc:sldLayoutMkLst>
        </pc:sldLayoutChg>
        <pc:sldLayoutChg chg="del">
          <pc:chgData name="Kouyoumdjian, Alanna" userId="1d7bb69d-7626-49b7-b466-9f531649a8d2" providerId="ADAL" clId="{31504530-45E7-4883-AF5B-36A75A7EF7A7}" dt="2025-05-05T23:21:32.877" v="291" actId="47"/>
          <pc:sldLayoutMkLst>
            <pc:docMk/>
            <pc:sldMasterMk cId="2453020921" sldId="2147483732"/>
            <pc:sldLayoutMk cId="2532708745" sldId="2147483745"/>
          </pc:sldLayoutMkLst>
        </pc:sldLayoutChg>
        <pc:sldLayoutChg chg="del">
          <pc:chgData name="Kouyoumdjian, Alanna" userId="1d7bb69d-7626-49b7-b466-9f531649a8d2" providerId="ADAL" clId="{31504530-45E7-4883-AF5B-36A75A7EF7A7}" dt="2025-05-05T23:37:28.472" v="489" actId="47"/>
          <pc:sldLayoutMkLst>
            <pc:docMk/>
            <pc:sldMasterMk cId="2453020921" sldId="2147483732"/>
            <pc:sldLayoutMk cId="2177346532" sldId="2147483746"/>
          </pc:sldLayoutMkLst>
        </pc:sldLayoutChg>
        <pc:sldLayoutChg chg="del">
          <pc:chgData name="Kouyoumdjian, Alanna" userId="1d7bb69d-7626-49b7-b466-9f531649a8d2" providerId="ADAL" clId="{31504530-45E7-4883-AF5B-36A75A7EF7A7}" dt="2025-05-05T23:05:11.408" v="40" actId="47"/>
          <pc:sldLayoutMkLst>
            <pc:docMk/>
            <pc:sldMasterMk cId="2453020921" sldId="2147483732"/>
            <pc:sldLayoutMk cId="2687914623" sldId="2147483747"/>
          </pc:sldLayoutMkLst>
        </pc:sldLayoutChg>
      </pc:sldMasterChg>
    </pc:docChg>
  </pc:docChgLst>
  <pc:docChgLst>
    <pc:chgData name="Simard, Eric" userId="b5080b7b-80d2-4056-a1f7-2a289ded5c89" providerId="ADAL" clId="{FBC1352E-EA7E-42E4-B0E9-E04D1B7CF2DB}"/>
    <pc:docChg chg="undo custSel addSld delSld modSld">
      <pc:chgData name="Simard, Eric" userId="b5080b7b-80d2-4056-a1f7-2a289ded5c89" providerId="ADAL" clId="{FBC1352E-EA7E-42E4-B0E9-E04D1B7CF2DB}" dt="2025-05-15T16:37:16.811" v="977" actId="20577"/>
      <pc:docMkLst>
        <pc:docMk/>
      </pc:docMkLst>
      <pc:sldChg chg="addSp modSp add mod">
        <pc:chgData name="Simard, Eric" userId="b5080b7b-80d2-4056-a1f7-2a289ded5c89" providerId="ADAL" clId="{FBC1352E-EA7E-42E4-B0E9-E04D1B7CF2DB}" dt="2025-05-15T16:37:16.811" v="977" actId="20577"/>
        <pc:sldMkLst>
          <pc:docMk/>
          <pc:sldMk cId="1059931058" sldId="258"/>
        </pc:sldMkLst>
        <pc:spChg chg="add mod">
          <ac:chgData name="Simard, Eric" userId="b5080b7b-80d2-4056-a1f7-2a289ded5c89" providerId="ADAL" clId="{FBC1352E-EA7E-42E4-B0E9-E04D1B7CF2DB}" dt="2025-05-05T14:24:33.598" v="148" actId="20577"/>
          <ac:spMkLst>
            <pc:docMk/>
            <pc:sldMk cId="1059931058" sldId="258"/>
            <ac:spMk id="2" creationId="{B225AF5A-A522-47D2-FA79-585683331EEB}"/>
          </ac:spMkLst>
        </pc:spChg>
        <pc:graphicFrameChg chg="mod modGraphic">
          <ac:chgData name="Simard, Eric" userId="b5080b7b-80d2-4056-a1f7-2a289ded5c89" providerId="ADAL" clId="{FBC1352E-EA7E-42E4-B0E9-E04D1B7CF2DB}" dt="2025-05-15T16:37:16.811" v="977" actId="20577"/>
          <ac:graphicFrameMkLst>
            <pc:docMk/>
            <pc:sldMk cId="1059931058" sldId="258"/>
            <ac:graphicFrameMk id="4" creationId="{65A1A0B7-37D7-5CB4-9B35-723F824FBAA5}"/>
          </ac:graphicFrameMkLst>
        </pc:graphicFrameChg>
      </pc:sldChg>
      <pc:sldChg chg="addSp delSp modSp mod modClrScheme chgLayout">
        <pc:chgData name="Simard, Eric" userId="b5080b7b-80d2-4056-a1f7-2a289ded5c89" providerId="ADAL" clId="{FBC1352E-EA7E-42E4-B0E9-E04D1B7CF2DB}" dt="2025-05-14T17:44:38.211" v="951" actId="20577"/>
        <pc:sldMkLst>
          <pc:docMk/>
          <pc:sldMk cId="2655105972" sldId="2147483178"/>
        </pc:sldMkLst>
        <pc:spChg chg="mod ord">
          <ac:chgData name="Simard, Eric" userId="b5080b7b-80d2-4056-a1f7-2a289ded5c89" providerId="ADAL" clId="{FBC1352E-EA7E-42E4-B0E9-E04D1B7CF2DB}" dt="2025-05-14T17:44:38.211" v="951" actId="20577"/>
          <ac:spMkLst>
            <pc:docMk/>
            <pc:sldMk cId="2655105972" sldId="2147483178"/>
            <ac:spMk id="2" creationId="{A44DBC72-E78F-35B6-A3B0-0097289967B1}"/>
          </ac:spMkLst>
        </pc:spChg>
        <pc:spChg chg="add mod ord">
          <ac:chgData name="Simard, Eric" userId="b5080b7b-80d2-4056-a1f7-2a289ded5c89" providerId="ADAL" clId="{FBC1352E-EA7E-42E4-B0E9-E04D1B7CF2DB}" dt="2025-05-05T14:21:50.072" v="61" actId="700"/>
          <ac:spMkLst>
            <pc:docMk/>
            <pc:sldMk cId="2655105972" sldId="2147483178"/>
            <ac:spMk id="6" creationId="{D8A79DD5-2EDB-F18A-0BED-20910F783771}"/>
          </ac:spMkLst>
        </pc:spChg>
      </pc:sldChg>
      <pc:sldChg chg="modSp mod">
        <pc:chgData name="Simard, Eric" userId="b5080b7b-80d2-4056-a1f7-2a289ded5c89" providerId="ADAL" clId="{FBC1352E-EA7E-42E4-B0E9-E04D1B7CF2DB}" dt="2025-05-07T15:58:47.701" v="946" actId="20577"/>
        <pc:sldMkLst>
          <pc:docMk/>
          <pc:sldMk cId="2516029776" sldId="2147483337"/>
        </pc:sldMkLst>
        <pc:spChg chg="mod">
          <ac:chgData name="Simard, Eric" userId="b5080b7b-80d2-4056-a1f7-2a289ded5c89" providerId="ADAL" clId="{FBC1352E-EA7E-42E4-B0E9-E04D1B7CF2DB}" dt="2025-05-07T15:58:47.701" v="946" actId="20577"/>
          <ac:spMkLst>
            <pc:docMk/>
            <pc:sldMk cId="2516029776" sldId="2147483337"/>
            <ac:spMk id="44" creationId="{C4C4DF22-0AD4-7E08-3F48-CECA2094BFC6}"/>
          </ac:spMkLst>
        </pc:spChg>
        <pc:spChg chg="mod">
          <ac:chgData name="Simard, Eric" userId="b5080b7b-80d2-4056-a1f7-2a289ded5c89" providerId="ADAL" clId="{FBC1352E-EA7E-42E4-B0E9-E04D1B7CF2DB}" dt="2025-05-07T13:12:13.384" v="893" actId="20577"/>
          <ac:spMkLst>
            <pc:docMk/>
            <pc:sldMk cId="2516029776" sldId="2147483337"/>
            <ac:spMk id="94" creationId="{7D9959D8-A651-9057-90EE-D076C97311B6}"/>
          </ac:spMkLst>
        </pc:spChg>
      </pc:sldChg>
      <pc:sldChg chg="add del">
        <pc:chgData name="Simard, Eric" userId="b5080b7b-80d2-4056-a1f7-2a289ded5c89" providerId="ADAL" clId="{FBC1352E-EA7E-42E4-B0E9-E04D1B7CF2DB}" dt="2025-05-05T14:11:57.799" v="2" actId="47"/>
        <pc:sldMkLst>
          <pc:docMk/>
          <pc:sldMk cId="1410813064" sldId="2147483338"/>
        </pc:sldMkLst>
      </pc:sldChg>
      <pc:sldChg chg="addSp delSp modSp new mod modClrScheme chgLayout">
        <pc:chgData name="Simard, Eric" userId="b5080b7b-80d2-4056-a1f7-2a289ded5c89" providerId="ADAL" clId="{FBC1352E-EA7E-42E4-B0E9-E04D1B7CF2DB}" dt="2025-05-05T14:18:48.494" v="10" actId="478"/>
        <pc:sldMkLst>
          <pc:docMk/>
          <pc:sldMk cId="4240913848" sldId="2147483338"/>
        </pc:sldMkLst>
        <pc:spChg chg="mod ord">
          <ac:chgData name="Simard, Eric" userId="b5080b7b-80d2-4056-a1f7-2a289ded5c89" providerId="ADAL" clId="{FBC1352E-EA7E-42E4-B0E9-E04D1B7CF2DB}" dt="2025-05-05T14:18:46.131" v="9" actId="700"/>
          <ac:spMkLst>
            <pc:docMk/>
            <pc:sldMk cId="4240913848" sldId="2147483338"/>
            <ac:spMk id="4" creationId="{13C3CBAE-0CB0-04DE-B011-729017ED191D}"/>
          </ac:spMkLst>
        </pc:spChg>
        <pc:picChg chg="add mod">
          <ac:chgData name="Simard, Eric" userId="b5080b7b-80d2-4056-a1f7-2a289ded5c89" providerId="ADAL" clId="{FBC1352E-EA7E-42E4-B0E9-E04D1B7CF2DB}" dt="2025-05-05T14:18:34.101" v="8" actId="1076"/>
          <ac:picMkLst>
            <pc:docMk/>
            <pc:sldMk cId="4240913848" sldId="2147483338"/>
            <ac:picMk id="7" creationId="{AF356D11-9307-0E6B-5A5D-1DB3D9AE542E}"/>
          </ac:picMkLst>
        </pc:picChg>
      </pc:sldChg>
      <pc:sldChg chg="addSp delSp modSp new mod">
        <pc:chgData name="Simard, Eric" userId="b5080b7b-80d2-4056-a1f7-2a289ded5c89" providerId="ADAL" clId="{FBC1352E-EA7E-42E4-B0E9-E04D1B7CF2DB}" dt="2025-05-07T13:01:07.652" v="837" actId="20577"/>
        <pc:sldMkLst>
          <pc:docMk/>
          <pc:sldMk cId="1085227940" sldId="2147483339"/>
        </pc:sldMkLst>
        <pc:spChg chg="add mod">
          <ac:chgData name="Simard, Eric" userId="b5080b7b-80d2-4056-a1f7-2a289ded5c89" providerId="ADAL" clId="{FBC1352E-EA7E-42E4-B0E9-E04D1B7CF2DB}" dt="2025-05-05T14:35:18.872" v="347" actId="20577"/>
          <ac:spMkLst>
            <pc:docMk/>
            <pc:sldMk cId="1085227940" sldId="2147483339"/>
            <ac:spMk id="3" creationId="{EE5DCEFE-93FE-6DEB-7F49-21554D5E304C}"/>
          </ac:spMkLst>
        </pc:spChg>
        <pc:spChg chg="add mod">
          <ac:chgData name="Simard, Eric" userId="b5080b7b-80d2-4056-a1f7-2a289ded5c89" providerId="ADAL" clId="{FBC1352E-EA7E-42E4-B0E9-E04D1B7CF2DB}" dt="2025-05-07T13:01:07.652" v="837" actId="20577"/>
          <ac:spMkLst>
            <pc:docMk/>
            <pc:sldMk cId="1085227940" sldId="2147483339"/>
            <ac:spMk id="7" creationId="{C4C236CD-7063-7524-00DF-79CFFFCE3F45}"/>
          </ac:spMkLst>
        </pc:spChg>
        <pc:graphicFrameChg chg="add mod modGraphic">
          <ac:chgData name="Simard, Eric" userId="b5080b7b-80d2-4056-a1f7-2a289ded5c89" providerId="ADAL" clId="{FBC1352E-EA7E-42E4-B0E9-E04D1B7CF2DB}" dt="2025-05-05T14:40:26.324" v="515"/>
          <ac:graphicFrameMkLst>
            <pc:docMk/>
            <pc:sldMk cId="1085227940" sldId="2147483339"/>
            <ac:graphicFrameMk id="6" creationId="{69B69483-A7EB-C16B-A896-0D31890D3CAA}"/>
          </ac:graphicFrameMkLst>
        </pc:graphicFrameChg>
      </pc:sldChg>
      <pc:sldChg chg="add del">
        <pc:chgData name="Simard, Eric" userId="b5080b7b-80d2-4056-a1f7-2a289ded5c89" providerId="ADAL" clId="{FBC1352E-EA7E-42E4-B0E9-E04D1B7CF2DB}" dt="2025-05-05T14:11:58.651" v="3" actId="47"/>
        <pc:sldMkLst>
          <pc:docMk/>
          <pc:sldMk cId="2237769554" sldId="2147483339"/>
        </pc:sldMkLst>
      </pc:sldChg>
      <pc:sldChg chg="addSp delSp modSp new mod">
        <pc:chgData name="Simard, Eric" userId="b5080b7b-80d2-4056-a1f7-2a289ded5c89" providerId="ADAL" clId="{FBC1352E-EA7E-42E4-B0E9-E04D1B7CF2DB}" dt="2025-05-07T12:59:58.135" v="821" actId="1076"/>
        <pc:sldMkLst>
          <pc:docMk/>
          <pc:sldMk cId="3196261633" sldId="2147483340"/>
        </pc:sldMkLst>
        <pc:spChg chg="add mod">
          <ac:chgData name="Simard, Eric" userId="b5080b7b-80d2-4056-a1f7-2a289ded5c89" providerId="ADAL" clId="{FBC1352E-EA7E-42E4-B0E9-E04D1B7CF2DB}" dt="2025-05-07T12:59:58.135" v="821" actId="1076"/>
          <ac:spMkLst>
            <pc:docMk/>
            <pc:sldMk cId="3196261633" sldId="2147483340"/>
            <ac:spMk id="6" creationId="{5D94DAE1-1E44-C305-28DC-BC46BC0F373F}"/>
          </ac:spMkLst>
        </pc:spChg>
        <pc:spChg chg="add mod">
          <ac:chgData name="Simard, Eric" userId="b5080b7b-80d2-4056-a1f7-2a289ded5c89" providerId="ADAL" clId="{FBC1352E-EA7E-42E4-B0E9-E04D1B7CF2DB}" dt="2025-05-05T14:21:16.078" v="58" actId="20577"/>
          <ac:spMkLst>
            <pc:docMk/>
            <pc:sldMk cId="3196261633" sldId="2147483340"/>
            <ac:spMk id="7" creationId="{5CB6CE24-DF8F-9B83-1D08-48A9D9A2F3E6}"/>
          </ac:spMkLst>
        </pc:spChg>
      </pc:sldChg>
      <pc:sldChg chg="modSp add mod">
        <pc:chgData name="Simard, Eric" userId="b5080b7b-80d2-4056-a1f7-2a289ded5c89" providerId="ADAL" clId="{FBC1352E-EA7E-42E4-B0E9-E04D1B7CF2DB}" dt="2025-05-05T14:25:00.239" v="162" actId="1076"/>
        <pc:sldMkLst>
          <pc:docMk/>
          <pc:sldMk cId="924275281" sldId="2147483341"/>
        </pc:sldMkLst>
        <pc:spChg chg="mod">
          <ac:chgData name="Simard, Eric" userId="b5080b7b-80d2-4056-a1f7-2a289ded5c89" providerId="ADAL" clId="{FBC1352E-EA7E-42E4-B0E9-E04D1B7CF2DB}" dt="2025-05-05T14:25:00.239" v="162" actId="1076"/>
          <ac:spMkLst>
            <pc:docMk/>
            <pc:sldMk cId="924275281" sldId="2147483341"/>
            <ac:spMk id="2" creationId="{DFEE97C9-BAB5-61DC-89FC-175A962E1612}"/>
          </ac:spMkLst>
        </pc:spChg>
      </pc:sldChg>
      <pc:sldChg chg="modSp add mod">
        <pc:chgData name="Simard, Eric" userId="b5080b7b-80d2-4056-a1f7-2a289ded5c89" providerId="ADAL" clId="{FBC1352E-EA7E-42E4-B0E9-E04D1B7CF2DB}" dt="2025-05-15T16:00:08.208" v="957" actId="20577"/>
        <pc:sldMkLst>
          <pc:docMk/>
          <pc:sldMk cId="88370620" sldId="2147483342"/>
        </pc:sldMkLst>
        <pc:spChg chg="mod">
          <ac:chgData name="Simard, Eric" userId="b5080b7b-80d2-4056-a1f7-2a289ded5c89" providerId="ADAL" clId="{FBC1352E-EA7E-42E4-B0E9-E04D1B7CF2DB}" dt="2025-05-15T16:00:08.208" v="957" actId="20577"/>
          <ac:spMkLst>
            <pc:docMk/>
            <pc:sldMk cId="88370620" sldId="2147483342"/>
            <ac:spMk id="2" creationId="{9B317AEB-5A0D-C36E-6252-A6CCD12C7516}"/>
          </ac:spMkLst>
        </pc:spChg>
      </pc:sldChg>
      <pc:sldChg chg="modSp add mod">
        <pc:chgData name="Simard, Eric" userId="b5080b7b-80d2-4056-a1f7-2a289ded5c89" providerId="ADAL" clId="{FBC1352E-EA7E-42E4-B0E9-E04D1B7CF2DB}" dt="2025-05-15T16:00:13.191" v="963" actId="20577"/>
        <pc:sldMkLst>
          <pc:docMk/>
          <pc:sldMk cId="788537680" sldId="2147483343"/>
        </pc:sldMkLst>
        <pc:spChg chg="mod">
          <ac:chgData name="Simard, Eric" userId="b5080b7b-80d2-4056-a1f7-2a289ded5c89" providerId="ADAL" clId="{FBC1352E-EA7E-42E4-B0E9-E04D1B7CF2DB}" dt="2025-05-15T16:00:13.191" v="963" actId="20577"/>
          <ac:spMkLst>
            <pc:docMk/>
            <pc:sldMk cId="788537680" sldId="2147483343"/>
            <ac:spMk id="2" creationId="{0A1FB74C-3DCB-DA09-2529-3ADACF69F21D}"/>
          </ac:spMkLst>
        </pc:spChg>
        <pc:graphicFrameChg chg="mod modGraphic">
          <ac:chgData name="Simard, Eric" userId="b5080b7b-80d2-4056-a1f7-2a289ded5c89" providerId="ADAL" clId="{FBC1352E-EA7E-42E4-B0E9-E04D1B7CF2DB}" dt="2025-05-05T18:06:00.213" v="802" actId="207"/>
          <ac:graphicFrameMkLst>
            <pc:docMk/>
            <pc:sldMk cId="788537680" sldId="2147483343"/>
            <ac:graphicFrameMk id="4" creationId="{9F7F8E49-0684-5376-B4BD-3204A359FC4E}"/>
          </ac:graphicFrameMkLst>
        </pc:graphicFrameChg>
      </pc:sldChg>
      <pc:sldChg chg="modSp add mod">
        <pc:chgData name="Simard, Eric" userId="b5080b7b-80d2-4056-a1f7-2a289ded5c89" providerId="ADAL" clId="{FBC1352E-EA7E-42E4-B0E9-E04D1B7CF2DB}" dt="2025-05-05T14:29:19.926" v="320" actId="20577"/>
        <pc:sldMkLst>
          <pc:docMk/>
          <pc:sldMk cId="2124841320" sldId="2147483344"/>
        </pc:sldMkLst>
        <pc:spChg chg="mod">
          <ac:chgData name="Simard, Eric" userId="b5080b7b-80d2-4056-a1f7-2a289ded5c89" providerId="ADAL" clId="{FBC1352E-EA7E-42E4-B0E9-E04D1B7CF2DB}" dt="2025-05-05T14:29:19.926" v="320" actId="20577"/>
          <ac:spMkLst>
            <pc:docMk/>
            <pc:sldMk cId="2124841320" sldId="2147483344"/>
            <ac:spMk id="2" creationId="{D68D068C-C712-097E-4435-D157CF500E43}"/>
          </ac:spMkLst>
        </pc:spChg>
      </pc:sldChg>
      <pc:sldChg chg="modSp mod">
        <pc:chgData name="Simard, Eric" userId="b5080b7b-80d2-4056-a1f7-2a289ded5c89" providerId="ADAL" clId="{FBC1352E-EA7E-42E4-B0E9-E04D1B7CF2DB}" dt="2025-05-07T13:12:42.601" v="913" actId="20577"/>
        <pc:sldMkLst>
          <pc:docMk/>
          <pc:sldMk cId="1070822071" sldId="2147483397"/>
        </pc:sldMkLst>
        <pc:spChg chg="mod">
          <ac:chgData name="Simard, Eric" userId="b5080b7b-80d2-4056-a1f7-2a289ded5c89" providerId="ADAL" clId="{FBC1352E-EA7E-42E4-B0E9-E04D1B7CF2DB}" dt="2025-05-07T13:12:42.601" v="913" actId="20577"/>
          <ac:spMkLst>
            <pc:docMk/>
            <pc:sldMk cId="1070822071" sldId="2147483397"/>
            <ac:spMk id="2" creationId="{6D893B2F-EDA3-6ECC-1FB6-56EA3351947F}"/>
          </ac:spMkLst>
        </pc:spChg>
      </pc:sldChg>
      <pc:sldChg chg="modSp mod">
        <pc:chgData name="Simard, Eric" userId="b5080b7b-80d2-4056-a1f7-2a289ded5c89" providerId="ADAL" clId="{FBC1352E-EA7E-42E4-B0E9-E04D1B7CF2DB}" dt="2025-05-07T13:13:03.717" v="921" actId="14100"/>
        <pc:sldMkLst>
          <pc:docMk/>
          <pc:sldMk cId="2624822906" sldId="2147483398"/>
        </pc:sldMkLst>
        <pc:spChg chg="mod">
          <ac:chgData name="Simard, Eric" userId="b5080b7b-80d2-4056-a1f7-2a289ded5c89" providerId="ADAL" clId="{FBC1352E-EA7E-42E4-B0E9-E04D1B7CF2DB}" dt="2025-05-07T13:13:03.717" v="921" actId="14100"/>
          <ac:spMkLst>
            <pc:docMk/>
            <pc:sldMk cId="2624822906" sldId="2147483398"/>
            <ac:spMk id="2" creationId="{15DE7E0B-00DC-09A0-AD19-13AC44360EBC}"/>
          </ac:spMkLst>
        </pc:spChg>
      </pc:sldChg>
      <pc:sldChg chg="modSp mod">
        <pc:chgData name="Simard, Eric" userId="b5080b7b-80d2-4056-a1f7-2a289ded5c89" providerId="ADAL" clId="{FBC1352E-EA7E-42E4-B0E9-E04D1B7CF2DB}" dt="2025-05-07T13:02:26.685" v="880" actId="20577"/>
        <pc:sldMkLst>
          <pc:docMk/>
          <pc:sldMk cId="3852917763" sldId="2147483401"/>
        </pc:sldMkLst>
        <pc:spChg chg="mod">
          <ac:chgData name="Simard, Eric" userId="b5080b7b-80d2-4056-a1f7-2a289ded5c89" providerId="ADAL" clId="{FBC1352E-EA7E-42E4-B0E9-E04D1B7CF2DB}" dt="2025-05-07T13:02:26.685" v="880" actId="20577"/>
          <ac:spMkLst>
            <pc:docMk/>
            <pc:sldMk cId="3852917763" sldId="2147483401"/>
            <ac:spMk id="7" creationId="{40CEDFE8-3610-F2DB-EABF-B9885ACBD52F}"/>
          </ac:spMkLst>
        </pc:spChg>
      </pc:sldChg>
      <pc:sldChg chg="modSp mod modShow">
        <pc:chgData name="Simard, Eric" userId="b5080b7b-80d2-4056-a1f7-2a289ded5c89" providerId="ADAL" clId="{FBC1352E-EA7E-42E4-B0E9-E04D1B7CF2DB}" dt="2025-05-09T12:53:36.187" v="949" actId="729"/>
        <pc:sldMkLst>
          <pc:docMk/>
          <pc:sldMk cId="1538661341" sldId="2147483403"/>
        </pc:sldMkLst>
        <pc:spChg chg="mod">
          <ac:chgData name="Simard, Eric" userId="b5080b7b-80d2-4056-a1f7-2a289ded5c89" providerId="ADAL" clId="{FBC1352E-EA7E-42E4-B0E9-E04D1B7CF2DB}" dt="2025-05-07T13:01:37.344" v="863" actId="20577"/>
          <ac:spMkLst>
            <pc:docMk/>
            <pc:sldMk cId="1538661341" sldId="2147483403"/>
            <ac:spMk id="5" creationId="{BB1304CB-E19D-3938-D0B9-F792A3A1D792}"/>
          </ac:spMkLst>
        </pc:spChg>
      </pc:sldChg>
      <pc:sldChg chg="modSp mod">
        <pc:chgData name="Simard, Eric" userId="b5080b7b-80d2-4056-a1f7-2a289ded5c89" providerId="ADAL" clId="{FBC1352E-EA7E-42E4-B0E9-E04D1B7CF2DB}" dt="2025-05-07T13:01:53.817" v="865" actId="255"/>
        <pc:sldMkLst>
          <pc:docMk/>
          <pc:sldMk cId="876579226" sldId="2147483404"/>
        </pc:sldMkLst>
        <pc:spChg chg="mod">
          <ac:chgData name="Simard, Eric" userId="b5080b7b-80d2-4056-a1f7-2a289ded5c89" providerId="ADAL" clId="{FBC1352E-EA7E-42E4-B0E9-E04D1B7CF2DB}" dt="2025-05-07T13:01:53.817" v="865" actId="255"/>
          <ac:spMkLst>
            <pc:docMk/>
            <pc:sldMk cId="876579226" sldId="2147483404"/>
            <ac:spMk id="2" creationId="{057AE3C5-5368-F0C9-1A4D-CBE3E6CA4872}"/>
          </ac:spMkLst>
        </pc:spChg>
      </pc:sldChg>
      <pc:sldChg chg="modSp add mod">
        <pc:chgData name="Simard, Eric" userId="b5080b7b-80d2-4056-a1f7-2a289ded5c89" providerId="ADAL" clId="{FBC1352E-EA7E-42E4-B0E9-E04D1B7CF2DB}" dt="2025-05-07T13:17:20.872" v="932" actId="1076"/>
        <pc:sldMkLst>
          <pc:docMk/>
          <pc:sldMk cId="481645864" sldId="2147483405"/>
        </pc:sldMkLst>
        <pc:spChg chg="mod">
          <ac:chgData name="Simard, Eric" userId="b5080b7b-80d2-4056-a1f7-2a289ded5c89" providerId="ADAL" clId="{FBC1352E-EA7E-42E4-B0E9-E04D1B7CF2DB}" dt="2025-05-07T13:17:20.872" v="932" actId="1076"/>
          <ac:spMkLst>
            <pc:docMk/>
            <pc:sldMk cId="481645864" sldId="2147483405"/>
            <ac:spMk id="2" creationId="{F5A6F7A7-93EB-8210-E4B6-D58CE033795C}"/>
          </ac:spMkLst>
        </pc:spChg>
      </pc:sldChg>
      <pc:sldMasterChg chg="delSldLayout">
        <pc:chgData name="Simard, Eric" userId="b5080b7b-80d2-4056-a1f7-2a289ded5c89" providerId="ADAL" clId="{FBC1352E-EA7E-42E4-B0E9-E04D1B7CF2DB}" dt="2025-05-05T14:11:58.651" v="3" actId="47"/>
        <pc:sldMasterMkLst>
          <pc:docMk/>
          <pc:sldMasterMk cId="2631242468" sldId="2147483675"/>
        </pc:sldMasterMkLst>
        <pc:sldLayoutChg chg="del">
          <pc:chgData name="Simard, Eric" userId="b5080b7b-80d2-4056-a1f7-2a289ded5c89" providerId="ADAL" clId="{FBC1352E-EA7E-42E4-B0E9-E04D1B7CF2DB}" dt="2025-05-05T14:11:58.651" v="3" actId="47"/>
          <pc:sldLayoutMkLst>
            <pc:docMk/>
            <pc:sldMasterMk cId="2631242468" sldId="2147483675"/>
            <pc:sldLayoutMk cId="721938229" sldId="2147483732"/>
          </pc:sldLayoutMkLst>
        </pc:sldLayoutChg>
      </pc:sldMasterChg>
    </pc:docChg>
  </pc:docChgLst>
  <pc:docChgLst>
    <pc:chgData name="Kouyoumdjian, Alanna" userId="S::kouyoal1@novartis.net::1d7bb69d-7626-49b7-b466-9f531649a8d2" providerId="AD" clId="Web-{CD24975B-7811-BB18-13C1-0E315D240356}"/>
    <pc:docChg chg="modSld">
      <pc:chgData name="Kouyoumdjian, Alanna" userId="S::kouyoal1@novartis.net::1d7bb69d-7626-49b7-b466-9f531649a8d2" providerId="AD" clId="Web-{CD24975B-7811-BB18-13C1-0E315D240356}" dt="2025-05-09T13:07:11.662" v="12" actId="14100"/>
      <pc:docMkLst>
        <pc:docMk/>
      </pc:docMkLst>
      <pc:sldChg chg="addSp delSp modSp">
        <pc:chgData name="Kouyoumdjian, Alanna" userId="S::kouyoal1@novartis.net::1d7bb69d-7626-49b7-b466-9f531649a8d2" providerId="AD" clId="Web-{CD24975B-7811-BB18-13C1-0E315D240356}" dt="2025-05-09T13:06:27.709" v="7"/>
        <pc:sldMkLst>
          <pc:docMk/>
          <pc:sldMk cId="605835576" sldId="2147483261"/>
        </pc:sldMkLst>
      </pc:sldChg>
      <pc:sldChg chg="addSp modSp">
        <pc:chgData name="Kouyoumdjian, Alanna" userId="S::kouyoal1@novartis.net::1d7bb69d-7626-49b7-b466-9f531649a8d2" providerId="AD" clId="Web-{CD24975B-7811-BB18-13C1-0E315D240356}" dt="2025-05-09T13:07:11.662" v="12" actId="14100"/>
        <pc:sldMkLst>
          <pc:docMk/>
          <pc:sldMk cId="3852917763" sldId="2147483401"/>
        </pc:sldMkLst>
        <pc:spChg chg="add mod">
          <ac:chgData name="Kouyoumdjian, Alanna" userId="S::kouyoal1@novartis.net::1d7bb69d-7626-49b7-b466-9f531649a8d2" providerId="AD" clId="Web-{CD24975B-7811-BB18-13C1-0E315D240356}" dt="2025-05-09T13:07:11.662" v="12" actId="14100"/>
          <ac:spMkLst>
            <pc:docMk/>
            <pc:sldMk cId="3852917763" sldId="2147483401"/>
            <ac:spMk id="2" creationId="{95BF697C-CD1F-08FC-4FEE-AD17D02769FA}"/>
          </ac:spMkLst>
        </pc:spChg>
        <pc:picChg chg="mod">
          <ac:chgData name="Kouyoumdjian, Alanna" userId="S::kouyoal1@novartis.net::1d7bb69d-7626-49b7-b466-9f531649a8d2" providerId="AD" clId="Web-{CD24975B-7811-BB18-13C1-0E315D240356}" dt="2025-05-09T13:07:05.912" v="10" actId="1076"/>
          <ac:picMkLst>
            <pc:docMk/>
            <pc:sldMk cId="3852917763" sldId="2147483401"/>
            <ac:picMk id="42" creationId="{4DC69A33-9A6D-DD52-5002-A9E718BAE02D}"/>
          </ac:picMkLst>
        </pc:picChg>
      </pc:sldChg>
    </pc:docChg>
  </pc:docChgLst>
  <pc:docChgLst>
    <pc:chgData name="Riad, Marina" userId="S::riadma1@novartis.net::6ce9cbd4-2ef2-442e-816b-24ffa3528755" providerId="AD" clId="Web-{2278E8EB-4179-9C3C-DDDE-4B8B14616FDB}"/>
    <pc:docChg chg="addSld modSld">
      <pc:chgData name="Riad, Marina" userId="S::riadma1@novartis.net::6ce9cbd4-2ef2-442e-816b-24ffa3528755" providerId="AD" clId="Web-{2278E8EB-4179-9C3C-DDDE-4B8B14616FDB}" dt="2025-05-06T12:20:19.206" v="30" actId="20577"/>
      <pc:docMkLst>
        <pc:docMk/>
      </pc:docMkLst>
      <pc:sldChg chg="addSp delSp modSp">
        <pc:chgData name="Riad, Marina" userId="S::riadma1@novartis.net::6ce9cbd4-2ef2-442e-816b-24ffa3528755" providerId="AD" clId="Web-{2278E8EB-4179-9C3C-DDDE-4B8B14616FDB}" dt="2025-05-06T12:20:19.206" v="30" actId="20577"/>
        <pc:sldMkLst>
          <pc:docMk/>
          <pc:sldMk cId="2124841320" sldId="2147483344"/>
        </pc:sldMkLst>
        <pc:spChg chg="mod">
          <ac:chgData name="Riad, Marina" userId="S::riadma1@novartis.net::6ce9cbd4-2ef2-442e-816b-24ffa3528755" providerId="AD" clId="Web-{2278E8EB-4179-9C3C-DDDE-4B8B14616FDB}" dt="2025-05-06T12:16:31.659" v="0" actId="1076"/>
          <ac:spMkLst>
            <pc:docMk/>
            <pc:sldMk cId="2124841320" sldId="2147483344"/>
            <ac:spMk id="2" creationId="{D68D068C-C712-097E-4435-D157CF500E43}"/>
          </ac:spMkLst>
        </pc:spChg>
        <pc:spChg chg="add mod">
          <ac:chgData name="Riad, Marina" userId="S::riadma1@novartis.net::6ce9cbd4-2ef2-442e-816b-24ffa3528755" providerId="AD" clId="Web-{2278E8EB-4179-9C3C-DDDE-4B8B14616FDB}" dt="2025-05-06T12:20:19.206" v="30" actId="20577"/>
          <ac:spMkLst>
            <pc:docMk/>
            <pc:sldMk cId="2124841320" sldId="2147483344"/>
            <ac:spMk id="5" creationId="{101BCBA4-A144-9C8D-5070-C42ACD97736C}"/>
          </ac:spMkLst>
        </pc:spChg>
        <pc:picChg chg="add mod">
          <ac:chgData name="Riad, Marina" userId="S::riadma1@novartis.net::6ce9cbd4-2ef2-442e-816b-24ffa3528755" providerId="AD" clId="Web-{2278E8EB-4179-9C3C-DDDE-4B8B14616FDB}" dt="2025-05-06T12:19:12.221" v="22" actId="1076"/>
          <ac:picMkLst>
            <pc:docMk/>
            <pc:sldMk cId="2124841320" sldId="2147483344"/>
            <ac:picMk id="3" creationId="{0D651F45-23EE-122D-05DF-0ABF5ACA7830}"/>
          </ac:picMkLst>
        </pc:picChg>
      </pc:sldChg>
      <pc:sldChg chg="addSp delSp modSp new">
        <pc:chgData name="Riad, Marina" userId="S::riadma1@novartis.net::6ce9cbd4-2ef2-442e-816b-24ffa3528755" providerId="AD" clId="Web-{2278E8EB-4179-9C3C-DDDE-4B8B14616FDB}" dt="2025-05-06T12:19:01.425" v="21" actId="1076"/>
        <pc:sldMkLst>
          <pc:docMk/>
          <pc:sldMk cId="876579226" sldId="2147483404"/>
        </pc:sldMkLst>
      </pc:sldChg>
    </pc:docChg>
  </pc:docChgLst>
  <pc:docChgLst>
    <pc:chgData name="Kouyoumdjian, Alanna" userId="S::kouyoal1@novartis.net::1d7bb69d-7626-49b7-b466-9f531649a8d2" providerId="AD" clId="Web-{65762BB6-4A77-2949-970D-C11DCDDFE645}"/>
    <pc:docChg chg="modSld">
      <pc:chgData name="Kouyoumdjian, Alanna" userId="S::kouyoal1@novartis.net::1d7bb69d-7626-49b7-b466-9f531649a8d2" providerId="AD" clId="Web-{65762BB6-4A77-2949-970D-C11DCDDFE645}" dt="2025-05-14T18:57:38.681" v="10" actId="14100"/>
      <pc:docMkLst>
        <pc:docMk/>
      </pc:docMkLst>
      <pc:sldChg chg="modSp">
        <pc:chgData name="Kouyoumdjian, Alanna" userId="S::kouyoal1@novartis.net::1d7bb69d-7626-49b7-b466-9f531649a8d2" providerId="AD" clId="Web-{65762BB6-4A77-2949-970D-C11DCDDFE645}" dt="2025-05-14T18:57:38.681" v="10" actId="14100"/>
        <pc:sldMkLst>
          <pc:docMk/>
          <pc:sldMk cId="3852917763" sldId="2147483401"/>
        </pc:sldMkLst>
        <pc:spChg chg="mod">
          <ac:chgData name="Kouyoumdjian, Alanna" userId="S::kouyoal1@novartis.net::1d7bb69d-7626-49b7-b466-9f531649a8d2" providerId="AD" clId="Web-{65762BB6-4A77-2949-970D-C11DCDDFE645}" dt="2025-05-14T18:57:38.681" v="10" actId="14100"/>
          <ac:spMkLst>
            <pc:docMk/>
            <pc:sldMk cId="3852917763" sldId="2147483401"/>
            <ac:spMk id="43" creationId="{CEF696A7-F67D-AF8D-944B-77437D443DC5}"/>
          </ac:spMkLst>
        </pc:spChg>
      </pc:sldChg>
    </pc:docChg>
  </pc:docChgLst>
  <pc:docChgLst>
    <pc:chgData name="Riad, Marina" userId="6ce9cbd4-2ef2-442e-816b-24ffa3528755" providerId="ADAL" clId="{DE83E7D3-7077-4BEC-B25F-288BFDAE6A62}"/>
    <pc:docChg chg="undo custSel modSld">
      <pc:chgData name="Riad, Marina" userId="6ce9cbd4-2ef2-442e-816b-24ffa3528755" providerId="ADAL" clId="{DE83E7D3-7077-4BEC-B25F-288BFDAE6A62}" dt="2025-05-06T19:04:18.714" v="109" actId="14100"/>
      <pc:docMkLst>
        <pc:docMk/>
      </pc:docMkLst>
      <pc:sldChg chg="modSp mod modNotesTx">
        <pc:chgData name="Riad, Marina" userId="6ce9cbd4-2ef2-442e-816b-24ffa3528755" providerId="ADAL" clId="{DE83E7D3-7077-4BEC-B25F-288BFDAE6A62}" dt="2025-05-06T17:29:14.217" v="82" actId="14100"/>
        <pc:sldMkLst>
          <pc:docMk/>
          <pc:sldMk cId="2124841320" sldId="2147483344"/>
        </pc:sldMkLst>
        <pc:spChg chg="mod">
          <ac:chgData name="Riad, Marina" userId="6ce9cbd4-2ef2-442e-816b-24ffa3528755" providerId="ADAL" clId="{DE83E7D3-7077-4BEC-B25F-288BFDAE6A62}" dt="2025-05-06T17:28:49.948" v="18" actId="255"/>
          <ac:spMkLst>
            <pc:docMk/>
            <pc:sldMk cId="2124841320" sldId="2147483344"/>
            <ac:spMk id="5" creationId="{101BCBA4-A144-9C8D-5070-C42ACD97736C}"/>
          </ac:spMkLst>
        </pc:spChg>
        <pc:picChg chg="mod">
          <ac:chgData name="Riad, Marina" userId="6ce9cbd4-2ef2-442e-816b-24ffa3528755" providerId="ADAL" clId="{DE83E7D3-7077-4BEC-B25F-288BFDAE6A62}" dt="2025-05-06T17:29:14.217" v="82" actId="14100"/>
          <ac:picMkLst>
            <pc:docMk/>
            <pc:sldMk cId="2124841320" sldId="2147483344"/>
            <ac:picMk id="3" creationId="{0D651F45-23EE-122D-05DF-0ABF5ACA7830}"/>
          </ac:picMkLst>
        </pc:picChg>
      </pc:sldChg>
      <pc:sldChg chg="addSp delSp modSp mod">
        <pc:chgData name="Riad, Marina" userId="6ce9cbd4-2ef2-442e-816b-24ffa3528755" providerId="ADAL" clId="{DE83E7D3-7077-4BEC-B25F-288BFDAE6A62}" dt="2025-05-06T19:04:18.714" v="109" actId="14100"/>
        <pc:sldMkLst>
          <pc:docMk/>
          <pc:sldMk cId="876579226" sldId="2147483404"/>
        </pc:sldMkLst>
        <pc:spChg chg="mod">
          <ac:chgData name="Riad, Marina" userId="6ce9cbd4-2ef2-442e-816b-24ffa3528755" providerId="ADAL" clId="{DE83E7D3-7077-4BEC-B25F-288BFDAE6A62}" dt="2025-05-06T18:00:34.397" v="97" actId="255"/>
          <ac:spMkLst>
            <pc:docMk/>
            <pc:sldMk cId="876579226" sldId="2147483404"/>
            <ac:spMk id="2" creationId="{057AE3C5-5368-F0C9-1A4D-CBE3E6CA4872}"/>
          </ac:spMkLst>
        </pc:spChg>
        <pc:picChg chg="add mod">
          <ac:chgData name="Riad, Marina" userId="6ce9cbd4-2ef2-442e-816b-24ffa3528755" providerId="ADAL" clId="{DE83E7D3-7077-4BEC-B25F-288BFDAE6A62}" dt="2025-05-06T17:58:19.578" v="96" actId="1076"/>
          <ac:picMkLst>
            <pc:docMk/>
            <pc:sldMk cId="876579226" sldId="2147483404"/>
            <ac:picMk id="4" creationId="{5A686F32-C623-8AAE-386C-3A1C4BAB5A83}"/>
          </ac:picMkLst>
        </pc:picChg>
        <pc:picChg chg="add mod">
          <ac:chgData name="Riad, Marina" userId="6ce9cbd4-2ef2-442e-816b-24ffa3528755" providerId="ADAL" clId="{DE83E7D3-7077-4BEC-B25F-288BFDAE6A62}" dt="2025-05-06T19:03:32.170" v="100" actId="1076"/>
          <ac:picMkLst>
            <pc:docMk/>
            <pc:sldMk cId="876579226" sldId="2147483404"/>
            <ac:picMk id="6" creationId="{6ED28C09-5B97-33AF-4736-811E28FE6EE3}"/>
          </ac:picMkLst>
        </pc:picChg>
        <pc:picChg chg="add mod">
          <ac:chgData name="Riad, Marina" userId="6ce9cbd4-2ef2-442e-816b-24ffa3528755" providerId="ADAL" clId="{DE83E7D3-7077-4BEC-B25F-288BFDAE6A62}" dt="2025-05-06T19:04:18.714" v="109" actId="14100"/>
          <ac:picMkLst>
            <pc:docMk/>
            <pc:sldMk cId="876579226" sldId="2147483404"/>
            <ac:picMk id="8" creationId="{510CEC0A-E639-0F86-F28C-46A94163D53A}"/>
          </ac:picMkLst>
        </pc:picChg>
      </pc:sldChg>
    </pc:docChg>
  </pc:docChgLst>
  <pc:docChgLst>
    <pc:chgData name="Kouyoumdjian, Alanna" userId="S::kouyoal1@novartis.net::1d7bb69d-7626-49b7-b466-9f531649a8d2" providerId="AD" clId="Web-{F3981938-9E56-E25D-156B-B9470CE533C1}"/>
    <pc:docChg chg="modSld">
      <pc:chgData name="Kouyoumdjian, Alanna" userId="S::kouyoal1@novartis.net::1d7bb69d-7626-49b7-b466-9f531649a8d2" providerId="AD" clId="Web-{F3981938-9E56-E25D-156B-B9470CE533C1}" dt="2025-05-08T21:49:38.019" v="1"/>
      <pc:docMkLst>
        <pc:docMk/>
      </pc:docMkLst>
      <pc:sldChg chg="modSp">
        <pc:chgData name="Kouyoumdjian, Alanna" userId="S::kouyoal1@novartis.net::1d7bb69d-7626-49b7-b466-9f531649a8d2" providerId="AD" clId="Web-{F3981938-9E56-E25D-156B-B9470CE533C1}" dt="2025-05-08T21:49:38.019" v="1"/>
        <pc:sldMkLst>
          <pc:docMk/>
          <pc:sldMk cId="1059931058" sldId="258"/>
        </pc:sldMkLst>
        <pc:graphicFrameChg chg="mod modGraphic">
          <ac:chgData name="Kouyoumdjian, Alanna" userId="S::kouyoal1@novartis.net::1d7bb69d-7626-49b7-b466-9f531649a8d2" providerId="AD" clId="Web-{F3981938-9E56-E25D-156B-B9470CE533C1}" dt="2025-05-08T21:49:38.019" v="1"/>
          <ac:graphicFrameMkLst>
            <pc:docMk/>
            <pc:sldMk cId="1059931058" sldId="258"/>
            <ac:graphicFrameMk id="4" creationId="{65A1A0B7-37D7-5CB4-9B35-723F824FBAA5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678655-6DC4-40E9-9DE5-1F7D8CC88E78}" type="datetimeFigureOut">
              <a:rPr lang="en-US" smtClean="0"/>
              <a:t>5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CD9585-D7B6-4157-8EE0-A2E5FD900E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72928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8EFC1E-2A62-5F9B-14A7-883B374B6A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56166FE-7829-6DEB-0EC0-E0D85816D4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C843FE4-7846-17F6-A81E-4232D6632E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0341E1-DF48-917D-34DA-E3BFD89F69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B06901-0DD8-49D3-8268-402B4A7D225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11687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lnSpc>
                <a:spcPct val="95000"/>
              </a:lnSpc>
            </a:pPr>
            <a:endParaRPr lang="fr-CA" sz="1200" b="1">
              <a:highlight>
                <a:srgbClr val="50E2D0"/>
              </a:highlight>
            </a:endParaRPr>
          </a:p>
          <a:p>
            <a:pPr algn="l">
              <a:lnSpc>
                <a:spcPct val="95000"/>
              </a:lnSpc>
            </a:pPr>
            <a:endParaRPr lang="en-CA" sz="1200" b="1">
              <a:highlight>
                <a:srgbClr val="50E2D0"/>
              </a:highligh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F80CA-0B62-4806-84EF-87D648B4ECD5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94411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5F80CA-0B62-4806-84EF-87D648B4ECD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32401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User Experience is the top of our mind when we are launch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CD9585-D7B6-4157-8EE0-A2E5FD900E82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9309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emf"/><Relationship Id="rId4" Type="http://schemas.openxmlformats.org/officeDocument/2006/relationships/image" Target="../media/image5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emf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524DAE0-AADF-81BF-0508-982EC88804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848568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4007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73383FC-F738-A1A9-0803-D406460DED84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5521619" y="0"/>
            <a:ext cx="6670381" cy="6858000"/>
          </a:xfrm>
          <a:custGeom>
            <a:avLst/>
            <a:gdLst>
              <a:gd name="connsiteX0" fmla="*/ 3510347 w 4571991"/>
              <a:gd name="connsiteY0" fmla="*/ 0 h 4700588"/>
              <a:gd name="connsiteX1" fmla="*/ 4571991 w 4571991"/>
              <a:gd name="connsiteY1" fmla="*/ 0 h 4700588"/>
              <a:gd name="connsiteX2" fmla="*/ 4571991 w 4571991"/>
              <a:gd name="connsiteY2" fmla="*/ 4700588 h 4700588"/>
              <a:gd name="connsiteX3" fmla="*/ 4571547 w 4571991"/>
              <a:gd name="connsiteY3" fmla="*/ 4700588 h 4700588"/>
              <a:gd name="connsiteX4" fmla="*/ 4557323 w 4571991"/>
              <a:gd name="connsiteY4" fmla="*/ 4700588 h 4700588"/>
              <a:gd name="connsiteX5" fmla="*/ 4541829 w 4571991"/>
              <a:gd name="connsiteY5" fmla="*/ 4700588 h 4700588"/>
              <a:gd name="connsiteX6" fmla="*/ 4518715 w 4571991"/>
              <a:gd name="connsiteY6" fmla="*/ 4700588 h 4700588"/>
              <a:gd name="connsiteX7" fmla="*/ 4486457 w 4571991"/>
              <a:gd name="connsiteY7" fmla="*/ 4700588 h 4700588"/>
              <a:gd name="connsiteX8" fmla="*/ 4443532 w 4571991"/>
              <a:gd name="connsiteY8" fmla="*/ 4700588 h 4700588"/>
              <a:gd name="connsiteX9" fmla="*/ 4388414 w 4571991"/>
              <a:gd name="connsiteY9" fmla="*/ 4700588 h 4700588"/>
              <a:gd name="connsiteX10" fmla="*/ 4319580 w 4571991"/>
              <a:gd name="connsiteY10" fmla="*/ 4700588 h 4700588"/>
              <a:gd name="connsiteX11" fmla="*/ 4235507 w 4571991"/>
              <a:gd name="connsiteY11" fmla="*/ 4700588 h 4700588"/>
              <a:gd name="connsiteX12" fmla="*/ 4134670 w 4571991"/>
              <a:gd name="connsiteY12" fmla="*/ 4700588 h 4700588"/>
              <a:gd name="connsiteX13" fmla="*/ 4015544 w 4571991"/>
              <a:gd name="connsiteY13" fmla="*/ 4700588 h 4700588"/>
              <a:gd name="connsiteX14" fmla="*/ 3876607 w 4571991"/>
              <a:gd name="connsiteY14" fmla="*/ 4700588 h 4700588"/>
              <a:gd name="connsiteX15" fmla="*/ 3716334 w 4571991"/>
              <a:gd name="connsiteY15" fmla="*/ 4700588 h 4700588"/>
              <a:gd name="connsiteX16" fmla="*/ 3533201 w 4571991"/>
              <a:gd name="connsiteY16" fmla="*/ 4700588 h 4700588"/>
              <a:gd name="connsiteX17" fmla="*/ 3423286 w 4571991"/>
              <a:gd name="connsiteY17" fmla="*/ 4550431 h 4700588"/>
              <a:gd name="connsiteX18" fmla="*/ 3098984 w 4571991"/>
              <a:gd name="connsiteY18" fmla="*/ 4226177 h 4700588"/>
              <a:gd name="connsiteX19" fmla="*/ 1889925 w 4571991"/>
              <a:gd name="connsiteY19" fmla="*/ 4550431 h 4700588"/>
              <a:gd name="connsiteX20" fmla="*/ 1780010 w 4571991"/>
              <a:gd name="connsiteY20" fmla="*/ 4700588 h 4700588"/>
              <a:gd name="connsiteX21" fmla="*/ 1777443 w 4571991"/>
              <a:gd name="connsiteY21" fmla="*/ 4700588 h 4700588"/>
              <a:gd name="connsiteX22" fmla="*/ 1771345 w 4571991"/>
              <a:gd name="connsiteY22" fmla="*/ 4700588 h 4700588"/>
              <a:gd name="connsiteX23" fmla="*/ 1759469 w 4571991"/>
              <a:gd name="connsiteY23" fmla="*/ 4700588 h 4700588"/>
              <a:gd name="connsiteX24" fmla="*/ 1739891 w 4571991"/>
              <a:gd name="connsiteY24" fmla="*/ 4700588 h 4700588"/>
              <a:gd name="connsiteX25" fmla="*/ 1710685 w 4571991"/>
              <a:gd name="connsiteY25" fmla="*/ 4700588 h 4700588"/>
              <a:gd name="connsiteX26" fmla="*/ 1669924 w 4571991"/>
              <a:gd name="connsiteY26" fmla="*/ 4700588 h 4700588"/>
              <a:gd name="connsiteX27" fmla="*/ 1615683 w 4571991"/>
              <a:gd name="connsiteY27" fmla="*/ 4700588 h 4700588"/>
              <a:gd name="connsiteX28" fmla="*/ 1546036 w 4571991"/>
              <a:gd name="connsiteY28" fmla="*/ 4700588 h 4700588"/>
              <a:gd name="connsiteX29" fmla="*/ 1459058 w 4571991"/>
              <a:gd name="connsiteY29" fmla="*/ 4700588 h 4700588"/>
              <a:gd name="connsiteX30" fmla="*/ 1352823 w 4571991"/>
              <a:gd name="connsiteY30" fmla="*/ 4700588 h 4700588"/>
              <a:gd name="connsiteX31" fmla="*/ 1225405 w 4571991"/>
              <a:gd name="connsiteY31" fmla="*/ 4700588 h 4700588"/>
              <a:gd name="connsiteX32" fmla="*/ 1074878 w 4571991"/>
              <a:gd name="connsiteY32" fmla="*/ 4700588 h 4700588"/>
              <a:gd name="connsiteX33" fmla="*/ 899317 w 4571991"/>
              <a:gd name="connsiteY33" fmla="*/ 4700588 h 4700588"/>
              <a:gd name="connsiteX34" fmla="*/ 696796 w 4571991"/>
              <a:gd name="connsiteY34" fmla="*/ 4700588 h 4700588"/>
              <a:gd name="connsiteX35" fmla="*/ 584824 w 4571991"/>
              <a:gd name="connsiteY35" fmla="*/ 4700588 h 4700588"/>
              <a:gd name="connsiteX36" fmla="*/ 465390 w 4571991"/>
              <a:gd name="connsiteY36" fmla="*/ 4700588 h 4700588"/>
              <a:gd name="connsiteX37" fmla="*/ 356564 w 4571991"/>
              <a:gd name="connsiteY37" fmla="*/ 4550431 h 4700588"/>
              <a:gd name="connsiteX38" fmla="*/ 342416 w 4571991"/>
              <a:gd name="connsiteY38" fmla="*/ 4525404 h 4700588"/>
              <a:gd name="connsiteX39" fmla="*/ 1328382 w 4571991"/>
              <a:gd name="connsiteY39" fmla="*/ 922708 h 4700588"/>
              <a:gd name="connsiteX40" fmla="*/ 2656061 w 4571991"/>
              <a:gd name="connsiteY40" fmla="*/ 567988 h 4700588"/>
              <a:gd name="connsiteX41" fmla="*/ 3423286 w 4571991"/>
              <a:gd name="connsiteY41" fmla="*/ 125131 h 4700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4571991" h="4700588">
                <a:moveTo>
                  <a:pt x="3510347" y="0"/>
                </a:moveTo>
                <a:lnTo>
                  <a:pt x="4571991" y="0"/>
                </a:lnTo>
                <a:lnTo>
                  <a:pt x="4571991" y="4700588"/>
                </a:lnTo>
                <a:lnTo>
                  <a:pt x="4571547" y="4700588"/>
                </a:lnTo>
                <a:lnTo>
                  <a:pt x="4557323" y="4700588"/>
                </a:lnTo>
                <a:lnTo>
                  <a:pt x="4541829" y="4700588"/>
                </a:lnTo>
                <a:lnTo>
                  <a:pt x="4518715" y="4700588"/>
                </a:lnTo>
                <a:lnTo>
                  <a:pt x="4486457" y="4700588"/>
                </a:lnTo>
                <a:lnTo>
                  <a:pt x="4443532" y="4700588"/>
                </a:lnTo>
                <a:lnTo>
                  <a:pt x="4388414" y="4700588"/>
                </a:lnTo>
                <a:lnTo>
                  <a:pt x="4319580" y="4700588"/>
                </a:lnTo>
                <a:lnTo>
                  <a:pt x="4235507" y="4700588"/>
                </a:lnTo>
                <a:lnTo>
                  <a:pt x="4134670" y="4700588"/>
                </a:lnTo>
                <a:lnTo>
                  <a:pt x="4015544" y="4700588"/>
                </a:lnTo>
                <a:lnTo>
                  <a:pt x="3876607" y="4700588"/>
                </a:lnTo>
                <a:lnTo>
                  <a:pt x="3716334" y="4700588"/>
                </a:lnTo>
                <a:lnTo>
                  <a:pt x="3533201" y="4700588"/>
                </a:lnTo>
                <a:cubicBezTo>
                  <a:pt x="3490758" y="4654888"/>
                  <a:pt x="3454846" y="4604836"/>
                  <a:pt x="3423286" y="4550431"/>
                </a:cubicBezTo>
                <a:cubicBezTo>
                  <a:pt x="3348196" y="4419859"/>
                  <a:pt x="3238282" y="4306696"/>
                  <a:pt x="3098984" y="4226177"/>
                </a:cubicBezTo>
                <a:cubicBezTo>
                  <a:pt x="2675650" y="3982443"/>
                  <a:pt x="2133695" y="4127160"/>
                  <a:pt x="1889925" y="4550431"/>
                </a:cubicBezTo>
                <a:cubicBezTo>
                  <a:pt x="1858365" y="4604836"/>
                  <a:pt x="1821364" y="4654888"/>
                  <a:pt x="1780010" y="4700588"/>
                </a:cubicBezTo>
                <a:lnTo>
                  <a:pt x="1777443" y="4700588"/>
                </a:lnTo>
                <a:lnTo>
                  <a:pt x="1771345" y="4700588"/>
                </a:lnTo>
                <a:lnTo>
                  <a:pt x="1759469" y="4700588"/>
                </a:lnTo>
                <a:lnTo>
                  <a:pt x="1739891" y="4700588"/>
                </a:lnTo>
                <a:lnTo>
                  <a:pt x="1710685" y="4700588"/>
                </a:lnTo>
                <a:lnTo>
                  <a:pt x="1669924" y="4700588"/>
                </a:lnTo>
                <a:lnTo>
                  <a:pt x="1615683" y="4700588"/>
                </a:lnTo>
                <a:lnTo>
                  <a:pt x="1546036" y="4700588"/>
                </a:lnTo>
                <a:lnTo>
                  <a:pt x="1459058" y="4700588"/>
                </a:lnTo>
                <a:lnTo>
                  <a:pt x="1352823" y="4700588"/>
                </a:lnTo>
                <a:lnTo>
                  <a:pt x="1225405" y="4700588"/>
                </a:lnTo>
                <a:lnTo>
                  <a:pt x="1074878" y="4700588"/>
                </a:lnTo>
                <a:lnTo>
                  <a:pt x="899317" y="4700588"/>
                </a:lnTo>
                <a:lnTo>
                  <a:pt x="696796" y="4700588"/>
                </a:lnTo>
                <a:lnTo>
                  <a:pt x="584824" y="4700588"/>
                </a:lnTo>
                <a:lnTo>
                  <a:pt x="465390" y="4700588"/>
                </a:lnTo>
                <a:cubicBezTo>
                  <a:pt x="424036" y="4654888"/>
                  <a:pt x="388123" y="4604836"/>
                  <a:pt x="356564" y="4550431"/>
                </a:cubicBezTo>
                <a:cubicBezTo>
                  <a:pt x="355475" y="4548254"/>
                  <a:pt x="345681" y="4531933"/>
                  <a:pt x="342416" y="4525404"/>
                </a:cubicBezTo>
                <a:cubicBezTo>
                  <a:pt x="-371484" y="3259945"/>
                  <a:pt x="65998" y="1651735"/>
                  <a:pt x="1328382" y="922708"/>
                </a:cubicBezTo>
                <a:cubicBezTo>
                  <a:pt x="1747362" y="681150"/>
                  <a:pt x="2205521" y="566900"/>
                  <a:pt x="2656061" y="567988"/>
                </a:cubicBezTo>
                <a:cubicBezTo>
                  <a:pt x="2961863" y="566900"/>
                  <a:pt x="3258959" y="409125"/>
                  <a:pt x="3423286" y="125131"/>
                </a:cubicBezTo>
                <a:close/>
              </a:path>
            </a:pathLst>
          </a:custGeom>
        </p:spPr>
        <p:txBody>
          <a:bodyPr wrap="square" tIns="144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33558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C29F56FE-6896-93B5-300C-73E8064C8D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footnote or delete text box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B95F338-020C-AD1A-58C0-1E2252F80F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6735613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ue and pink circle with black background&#10;&#10;Description automatically generated">
            <a:extLst>
              <a:ext uri="{FF2B5EF4-FFF2-40B4-BE49-F238E27FC236}">
                <a16:creationId xmlns:a16="http://schemas.microsoft.com/office/drawing/2014/main" id="{9C0A6453-E4D5-CF55-0E8C-990D85B3B6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4001" y="0"/>
            <a:ext cx="43179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09600"/>
            <a:ext cx="7364412" cy="809834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60443"/>
            <a:ext cx="3960000" cy="3806687"/>
          </a:xfrm>
        </p:spPr>
        <p:txBody>
          <a:bodyPr spcCol="450000">
            <a:normAutofit/>
          </a:bodyPr>
          <a:lstStyle>
            <a:lvl1pPr marL="457200" indent="-457200">
              <a:spcBef>
                <a:spcPts val="1100"/>
              </a:spcBef>
              <a:buFont typeface="+mj-lt"/>
              <a:buAutoNum type="arabicPeriod"/>
              <a:defRPr b="0"/>
            </a:lvl1pPr>
            <a:lvl2pPr marL="432000" indent="-216000">
              <a:spcBef>
                <a:spcPts val="500"/>
              </a:spcBef>
              <a:buSzPct val="130000"/>
              <a:buFont typeface="Arial" panose="020B0604020202020204" pitchFamily="34" charset="0"/>
              <a:buChar char="•"/>
              <a:defRPr>
                <a:solidFill>
                  <a:srgbClr val="0460A9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8FA9A013-00C4-2F39-D19D-0771AAF80A3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3994C94-AE7A-32C4-6201-E544C5E18F65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69676" y="1560443"/>
            <a:ext cx="3960000" cy="3806687"/>
          </a:xfrm>
        </p:spPr>
        <p:txBody>
          <a:bodyPr spcCol="450000">
            <a:normAutofit/>
          </a:bodyPr>
          <a:lstStyle>
            <a:lvl1pPr marL="457200" indent="-457200">
              <a:spcBef>
                <a:spcPts val="1100"/>
              </a:spcBef>
              <a:buFont typeface="+mj-lt"/>
              <a:buAutoNum type="arabicPeriod"/>
              <a:defRPr b="0"/>
            </a:lvl1pPr>
            <a:lvl2pPr marL="432000" indent="-216000">
              <a:spcBef>
                <a:spcPts val="500"/>
              </a:spcBef>
              <a:buSzPct val="130000"/>
              <a:buFont typeface="Arial" panose="020B0604020202020204" pitchFamily="34" charset="0"/>
              <a:buChar char="•"/>
              <a:defRPr>
                <a:solidFill>
                  <a:srgbClr val="0460A9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7292202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CCA893B-12FC-BEFE-9665-A9C624A56C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9267825" cy="4477931"/>
          </a:xfrm>
        </p:spPr>
        <p:txBody>
          <a:bodyPr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add footnote or delete text box</a:t>
            </a:r>
          </a:p>
          <a:p>
            <a:pPr lvl="1"/>
            <a:r>
              <a:rPr lang="en-US" noProof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93891406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5465762" cy="4477931"/>
          </a:xfrm>
        </p:spPr>
        <p:txBody>
          <a:bodyPr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4477931"/>
          </a:xfrm>
        </p:spPr>
        <p:txBody>
          <a:bodyPr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D219D62-CABA-69E2-E4EB-156330B182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add footnote or delete text box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3630F0D-3887-6D2F-5720-3333334C13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7929013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3562350" cy="447793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F11EDDC-1465-A78B-C3BD-A70D9121A33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1573619"/>
            <a:ext cx="3562350" cy="447793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73E3490-C5C2-7754-8FFF-150028EB9BC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1573619"/>
            <a:ext cx="3562350" cy="447793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14D0B233-2FE1-9855-6829-FEF22EE733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add footnote or delete text box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BF39D8E-4140-1FAB-7479-6231CA188B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39952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Full Wid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11168062" cy="4477931"/>
          </a:xfrm>
        </p:spPr>
        <p:txBody>
          <a:bodyPr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163FBBE-05C7-4083-A849-9413DA7CDD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1098705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797C4475-552D-264A-A4E6-E6613B129D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47851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2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 and a black background&#10;&#10;Description automatically generated">
            <a:extLst>
              <a:ext uri="{FF2B5EF4-FFF2-40B4-BE49-F238E27FC236}">
                <a16:creationId xmlns:a16="http://schemas.microsoft.com/office/drawing/2014/main" id="{86B6FA02-ECA3-BA26-3F96-186B4A3BE4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0500" y="0"/>
            <a:ext cx="43815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65630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3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 and circle shapes&#10;&#10;Description automatically generated with medium confidence">
            <a:extLst>
              <a:ext uri="{FF2B5EF4-FFF2-40B4-BE49-F238E27FC236}">
                <a16:creationId xmlns:a16="http://schemas.microsoft.com/office/drawing/2014/main" id="{9B53DC61-E9DE-3047-B6D1-237E56DAF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93085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4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s on a black background&#10;&#10;Description automatically generated">
            <a:extLst>
              <a:ext uri="{FF2B5EF4-FFF2-40B4-BE49-F238E27FC236}">
                <a16:creationId xmlns:a16="http://schemas.microsoft.com/office/drawing/2014/main" id="{E5CBFECC-BB8C-E07A-6D60-DFF6584C47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9500" y="0"/>
            <a:ext cx="47625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00772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" name="Picture Placeholder 1043">
            <a:extLst>
              <a:ext uri="{FF2B5EF4-FFF2-40B4-BE49-F238E27FC236}">
                <a16:creationId xmlns:a16="http://schemas.microsoft.com/office/drawing/2014/main" id="{3AF085D9-69D8-9C08-D85F-EAC08C542F7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00676" y="0"/>
            <a:ext cx="6791324" cy="6858000"/>
          </a:xfrm>
          <a:custGeom>
            <a:avLst/>
            <a:gdLst>
              <a:gd name="connsiteX0" fmla="*/ 2156795 w 3442824"/>
              <a:gd name="connsiteY0" fmla="*/ 0 h 3476625"/>
              <a:gd name="connsiteX1" fmla="*/ 3442824 w 3442824"/>
              <a:gd name="connsiteY1" fmla="*/ 0 h 3476625"/>
              <a:gd name="connsiteX2" fmla="*/ 3442824 w 3442824"/>
              <a:gd name="connsiteY2" fmla="*/ 3476625 h 3476625"/>
              <a:gd name="connsiteX3" fmla="*/ 0 w 3442824"/>
              <a:gd name="connsiteY3" fmla="*/ 3476625 h 3476625"/>
              <a:gd name="connsiteX4" fmla="*/ 117497 w 3442824"/>
              <a:gd name="connsiteY4" fmla="*/ 3067800 h 3476625"/>
              <a:gd name="connsiteX5" fmla="*/ 877204 w 3442824"/>
              <a:gd name="connsiteY5" fmla="*/ 2628393 h 3476625"/>
              <a:gd name="connsiteX6" fmla="*/ 1636911 w 3442824"/>
              <a:gd name="connsiteY6" fmla="*/ 2190596 h 3476625"/>
              <a:gd name="connsiteX7" fmla="*/ 1636911 w 3442824"/>
              <a:gd name="connsiteY7" fmla="*/ 1311782 h 3476625"/>
              <a:gd name="connsiteX8" fmla="*/ 1636911 w 3442824"/>
              <a:gd name="connsiteY8" fmla="*/ 434578 h 3476625"/>
              <a:gd name="connsiteX9" fmla="*/ 1958821 w 3442824"/>
              <a:gd name="connsiteY9" fmla="*/ 114278 h 3476625"/>
              <a:gd name="connsiteX10" fmla="*/ 2156795 w 3442824"/>
              <a:gd name="connsiteY10" fmla="*/ 0 h 3476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442824" h="3476625">
                <a:moveTo>
                  <a:pt x="2156795" y="0"/>
                </a:moveTo>
                <a:cubicBezTo>
                  <a:pt x="2156795" y="0"/>
                  <a:pt x="2156795" y="0"/>
                  <a:pt x="3442824" y="0"/>
                </a:cubicBezTo>
                <a:cubicBezTo>
                  <a:pt x="3442824" y="0"/>
                  <a:pt x="3442824" y="0"/>
                  <a:pt x="3442824" y="3476625"/>
                </a:cubicBezTo>
                <a:lnTo>
                  <a:pt x="0" y="3476625"/>
                </a:lnTo>
                <a:cubicBezTo>
                  <a:pt x="4829" y="3334985"/>
                  <a:pt x="45067" y="3193345"/>
                  <a:pt x="117497" y="3067800"/>
                </a:cubicBezTo>
                <a:cubicBezTo>
                  <a:pt x="275233" y="2795786"/>
                  <a:pt x="563342" y="2628393"/>
                  <a:pt x="877204" y="2628393"/>
                </a:cubicBezTo>
                <a:cubicBezTo>
                  <a:pt x="1191066" y="2628393"/>
                  <a:pt x="1480785" y="2461000"/>
                  <a:pt x="1636911" y="2190596"/>
                </a:cubicBezTo>
                <a:cubicBezTo>
                  <a:pt x="1794647" y="1918582"/>
                  <a:pt x="1794647" y="1583796"/>
                  <a:pt x="1636911" y="1311782"/>
                </a:cubicBezTo>
                <a:cubicBezTo>
                  <a:pt x="1480785" y="1041378"/>
                  <a:pt x="1480785" y="706592"/>
                  <a:pt x="1636911" y="434578"/>
                </a:cubicBezTo>
                <a:cubicBezTo>
                  <a:pt x="1715779" y="299376"/>
                  <a:pt x="1826838" y="189927"/>
                  <a:pt x="1958821" y="114278"/>
                </a:cubicBezTo>
                <a:cubicBezTo>
                  <a:pt x="1958821" y="114278"/>
                  <a:pt x="1958821" y="114278"/>
                  <a:pt x="2156795" y="0"/>
                </a:cubicBezTo>
                <a:close/>
              </a:path>
            </a:pathLst>
          </a:custGeom>
        </p:spPr>
        <p:txBody>
          <a:bodyPr wrap="square" tIns="57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730372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378614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2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33E8073-942E-24AC-8397-5E93C0860D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67351" y="0"/>
            <a:ext cx="6724650" cy="6864344"/>
          </a:xfrm>
          <a:custGeom>
            <a:avLst/>
            <a:gdLst>
              <a:gd name="connsiteX0" fmla="*/ 1381768 w 3687363"/>
              <a:gd name="connsiteY0" fmla="*/ 0 h 3763962"/>
              <a:gd name="connsiteX1" fmla="*/ 3687363 w 3687363"/>
              <a:gd name="connsiteY1" fmla="*/ 0 h 3763962"/>
              <a:gd name="connsiteX2" fmla="*/ 3687363 w 3687363"/>
              <a:gd name="connsiteY2" fmla="*/ 3763962 h 3763962"/>
              <a:gd name="connsiteX3" fmla="*/ 179303 w 3687363"/>
              <a:gd name="connsiteY3" fmla="*/ 3763962 h 3763962"/>
              <a:gd name="connsiteX4" fmla="*/ 177560 w 3687363"/>
              <a:gd name="connsiteY4" fmla="*/ 3762220 h 3763962"/>
              <a:gd name="connsiteX5" fmla="*/ 85197 w 3687363"/>
              <a:gd name="connsiteY5" fmla="*/ 2816001 h 3763962"/>
              <a:gd name="connsiteX6" fmla="*/ 857214 w 3687363"/>
              <a:gd name="connsiteY6" fmla="*/ 2263605 h 3763962"/>
              <a:gd name="connsiteX7" fmla="*/ 1629232 w 3687363"/>
              <a:gd name="connsiteY7" fmla="*/ 1709466 h 3763962"/>
              <a:gd name="connsiteX8" fmla="*/ 1535126 w 3687363"/>
              <a:gd name="connsiteY8" fmla="*/ 764991 h 3763962"/>
              <a:gd name="connsiteX9" fmla="*/ 1381768 w 3687363"/>
              <a:gd name="connsiteY9" fmla="*/ 0 h 3763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87363" h="3763962">
                <a:moveTo>
                  <a:pt x="1381768" y="0"/>
                </a:moveTo>
                <a:cubicBezTo>
                  <a:pt x="1381768" y="0"/>
                  <a:pt x="1381768" y="0"/>
                  <a:pt x="3687363" y="0"/>
                </a:cubicBezTo>
                <a:lnTo>
                  <a:pt x="3687363" y="3763962"/>
                </a:lnTo>
                <a:cubicBezTo>
                  <a:pt x="3687363" y="3763962"/>
                  <a:pt x="3687363" y="3763962"/>
                  <a:pt x="179303" y="3763962"/>
                </a:cubicBezTo>
                <a:cubicBezTo>
                  <a:pt x="179303" y="3762220"/>
                  <a:pt x="177560" y="3762220"/>
                  <a:pt x="177560" y="3762220"/>
                </a:cubicBezTo>
                <a:cubicBezTo>
                  <a:pt x="-19365" y="3485150"/>
                  <a:pt x="-55962" y="3124437"/>
                  <a:pt x="85197" y="2816001"/>
                </a:cubicBezTo>
                <a:cubicBezTo>
                  <a:pt x="224613" y="2507566"/>
                  <a:pt x="519130" y="2296714"/>
                  <a:pt x="857214" y="2263605"/>
                </a:cubicBezTo>
                <a:cubicBezTo>
                  <a:pt x="1195299" y="2228754"/>
                  <a:pt x="1488073" y="2017902"/>
                  <a:pt x="1629232" y="1709466"/>
                </a:cubicBezTo>
                <a:cubicBezTo>
                  <a:pt x="1768648" y="1401030"/>
                  <a:pt x="1733794" y="1040317"/>
                  <a:pt x="1535126" y="764991"/>
                </a:cubicBezTo>
                <a:cubicBezTo>
                  <a:pt x="1374797" y="540198"/>
                  <a:pt x="1322516" y="261386"/>
                  <a:pt x="1381768" y="0"/>
                </a:cubicBezTo>
                <a:close/>
              </a:path>
            </a:pathLst>
          </a:custGeom>
        </p:spPr>
        <p:txBody>
          <a:bodyPr wrap="square" tIns="57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38887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3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9C75056C-318D-5182-7DFA-238419FA663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10313" y="-1"/>
            <a:ext cx="5881687" cy="6863427"/>
          </a:xfrm>
          <a:custGeom>
            <a:avLst/>
            <a:gdLst>
              <a:gd name="connsiteX0" fmla="*/ 142382 w 3512411"/>
              <a:gd name="connsiteY0" fmla="*/ 0 h 4098684"/>
              <a:gd name="connsiteX1" fmla="*/ 3512411 w 3512411"/>
              <a:gd name="connsiteY1" fmla="*/ 0 h 4098684"/>
              <a:gd name="connsiteX2" fmla="*/ 3512411 w 3512411"/>
              <a:gd name="connsiteY2" fmla="*/ 4098684 h 4098684"/>
              <a:gd name="connsiteX3" fmla="*/ 2125310 w 3512411"/>
              <a:gd name="connsiteY3" fmla="*/ 4098684 h 4098684"/>
              <a:gd name="connsiteX4" fmla="*/ 451681 w 3512411"/>
              <a:gd name="connsiteY4" fmla="*/ 2652759 h 4098684"/>
              <a:gd name="connsiteX5" fmla="*/ 142382 w 3512411"/>
              <a:gd name="connsiteY5" fmla="*/ 0 h 4098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12411" h="4098684">
                <a:moveTo>
                  <a:pt x="142382" y="0"/>
                </a:moveTo>
                <a:cubicBezTo>
                  <a:pt x="142382" y="0"/>
                  <a:pt x="142382" y="0"/>
                  <a:pt x="3512411" y="0"/>
                </a:cubicBezTo>
                <a:cubicBezTo>
                  <a:pt x="3512411" y="0"/>
                  <a:pt x="3512411" y="0"/>
                  <a:pt x="3512411" y="4098684"/>
                </a:cubicBezTo>
                <a:cubicBezTo>
                  <a:pt x="3512411" y="4098684"/>
                  <a:pt x="3512411" y="4098684"/>
                  <a:pt x="2125310" y="4098684"/>
                </a:cubicBezTo>
                <a:cubicBezTo>
                  <a:pt x="1430811" y="3823541"/>
                  <a:pt x="836881" y="3318796"/>
                  <a:pt x="451681" y="2652759"/>
                </a:cubicBezTo>
                <a:cubicBezTo>
                  <a:pt x="-18909" y="1838715"/>
                  <a:pt x="-121376" y="878561"/>
                  <a:pt x="142382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47056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4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FE5B621D-69A8-D558-4755-2528B084DCF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09303" y="0"/>
            <a:ext cx="6582697" cy="6858000"/>
          </a:xfrm>
          <a:custGeom>
            <a:avLst/>
            <a:gdLst>
              <a:gd name="connsiteX0" fmla="*/ 0 w 4251325"/>
              <a:gd name="connsiteY0" fmla="*/ 0 h 4429125"/>
              <a:gd name="connsiteX1" fmla="*/ 4251325 w 4251325"/>
              <a:gd name="connsiteY1" fmla="*/ 0 h 4429125"/>
              <a:gd name="connsiteX2" fmla="*/ 4251325 w 4251325"/>
              <a:gd name="connsiteY2" fmla="*/ 4429125 h 4429125"/>
              <a:gd name="connsiteX3" fmla="*/ 1002845 w 4251325"/>
              <a:gd name="connsiteY3" fmla="*/ 4429125 h 4429125"/>
              <a:gd name="connsiteX4" fmla="*/ 1019252 w 4251325"/>
              <a:gd name="connsiteY4" fmla="*/ 3834474 h 4429125"/>
              <a:gd name="connsiteX5" fmla="*/ 1837524 w 4251325"/>
              <a:gd name="connsiteY5" fmla="*/ 3077832 h 4429125"/>
              <a:gd name="connsiteX6" fmla="*/ 2655796 w 4251325"/>
              <a:gd name="connsiteY6" fmla="*/ 2323240 h 4429125"/>
              <a:gd name="connsiteX7" fmla="*/ 2409700 w 4251325"/>
              <a:gd name="connsiteY7" fmla="*/ 1236464 h 4429125"/>
              <a:gd name="connsiteX8" fmla="*/ 1345330 w 4251325"/>
              <a:gd name="connsiteY8" fmla="*/ 906330 h 4429125"/>
              <a:gd name="connsiteX9" fmla="*/ 280961 w 4251325"/>
              <a:gd name="connsiteY9" fmla="*/ 576196 h 4429125"/>
              <a:gd name="connsiteX10" fmla="*/ 0 w 4251325"/>
              <a:gd name="connsiteY10" fmla="*/ 0 h 4429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251325" h="4429125">
                <a:moveTo>
                  <a:pt x="0" y="0"/>
                </a:moveTo>
                <a:cubicBezTo>
                  <a:pt x="0" y="0"/>
                  <a:pt x="0" y="0"/>
                  <a:pt x="4251325" y="0"/>
                </a:cubicBezTo>
                <a:cubicBezTo>
                  <a:pt x="4251325" y="0"/>
                  <a:pt x="4251325" y="0"/>
                  <a:pt x="4251325" y="4429125"/>
                </a:cubicBezTo>
                <a:cubicBezTo>
                  <a:pt x="4251325" y="4429125"/>
                  <a:pt x="4251325" y="4429125"/>
                  <a:pt x="1002845" y="4429125"/>
                </a:cubicBezTo>
                <a:cubicBezTo>
                  <a:pt x="953626" y="4236376"/>
                  <a:pt x="957728" y="4031324"/>
                  <a:pt x="1019252" y="3834474"/>
                </a:cubicBezTo>
                <a:cubicBezTo>
                  <a:pt x="1138199" y="3455128"/>
                  <a:pt x="1449921" y="3166004"/>
                  <a:pt x="1837524" y="3077832"/>
                </a:cubicBezTo>
                <a:cubicBezTo>
                  <a:pt x="2225127" y="2989660"/>
                  <a:pt x="2536850" y="2702587"/>
                  <a:pt x="2655796" y="2323240"/>
                </a:cubicBezTo>
                <a:cubicBezTo>
                  <a:pt x="2772693" y="1941843"/>
                  <a:pt x="2678355" y="1527638"/>
                  <a:pt x="2409700" y="1236464"/>
                </a:cubicBezTo>
                <a:cubicBezTo>
                  <a:pt x="2138993" y="945290"/>
                  <a:pt x="1732933" y="818158"/>
                  <a:pt x="1345330" y="906330"/>
                </a:cubicBezTo>
                <a:cubicBezTo>
                  <a:pt x="957728" y="994503"/>
                  <a:pt x="551668" y="869421"/>
                  <a:pt x="280961" y="576196"/>
                </a:cubicBezTo>
                <a:cubicBezTo>
                  <a:pt x="131252" y="414205"/>
                  <a:pt x="34864" y="213254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58658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5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D6F452B3-D14F-5BED-3898-8D8D3B9846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47203" y="0"/>
            <a:ext cx="6044798" cy="6858000"/>
          </a:xfrm>
          <a:custGeom>
            <a:avLst/>
            <a:gdLst>
              <a:gd name="connsiteX0" fmla="*/ 720997 w 4611957"/>
              <a:gd name="connsiteY0" fmla="*/ 0 h 5232400"/>
              <a:gd name="connsiteX1" fmla="*/ 4611957 w 4611957"/>
              <a:gd name="connsiteY1" fmla="*/ 0 h 5232400"/>
              <a:gd name="connsiteX2" fmla="*/ 4611957 w 4611957"/>
              <a:gd name="connsiteY2" fmla="*/ 5232400 h 5232400"/>
              <a:gd name="connsiteX3" fmla="*/ 1329111 w 4611957"/>
              <a:gd name="connsiteY3" fmla="*/ 5232400 h 5232400"/>
              <a:gd name="connsiteX4" fmla="*/ 476298 w 4611957"/>
              <a:gd name="connsiteY4" fmla="*/ 4469342 h 5232400"/>
              <a:gd name="connsiteX5" fmla="*/ 71696 w 4611957"/>
              <a:gd name="connsiteY5" fmla="*/ 3851628 h 5232400"/>
              <a:gd name="connsiteX6" fmla="*/ 30509 w 4611957"/>
              <a:gd name="connsiteY6" fmla="*/ 3112794 h 5232400"/>
              <a:gd name="connsiteX7" fmla="*/ 611973 w 4611957"/>
              <a:gd name="connsiteY7" fmla="*/ 322180 h 5232400"/>
              <a:gd name="connsiteX8" fmla="*/ 720997 w 4611957"/>
              <a:gd name="connsiteY8" fmla="*/ 0 h 523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1957" h="5232400">
                <a:moveTo>
                  <a:pt x="720997" y="0"/>
                </a:moveTo>
                <a:cubicBezTo>
                  <a:pt x="720997" y="0"/>
                  <a:pt x="720997" y="0"/>
                  <a:pt x="4611957" y="0"/>
                </a:cubicBezTo>
                <a:lnTo>
                  <a:pt x="4611957" y="5232400"/>
                </a:lnTo>
                <a:cubicBezTo>
                  <a:pt x="4611957" y="5232400"/>
                  <a:pt x="4611957" y="5232400"/>
                  <a:pt x="1329111" y="5232400"/>
                </a:cubicBezTo>
                <a:cubicBezTo>
                  <a:pt x="1329111" y="5232400"/>
                  <a:pt x="1329111" y="5232400"/>
                  <a:pt x="476298" y="4469342"/>
                </a:cubicBezTo>
                <a:cubicBezTo>
                  <a:pt x="292168" y="4304618"/>
                  <a:pt x="151647" y="4093869"/>
                  <a:pt x="71696" y="3851628"/>
                </a:cubicBezTo>
                <a:cubicBezTo>
                  <a:pt x="-8255" y="3609387"/>
                  <a:pt x="-20369" y="3355034"/>
                  <a:pt x="30509" y="3112794"/>
                </a:cubicBezTo>
                <a:cubicBezTo>
                  <a:pt x="30509" y="3112794"/>
                  <a:pt x="30509" y="3112794"/>
                  <a:pt x="611973" y="322180"/>
                </a:cubicBezTo>
                <a:cubicBezTo>
                  <a:pt x="636200" y="210750"/>
                  <a:pt x="672542" y="101741"/>
                  <a:pt x="720997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413599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Image [R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orange gradient&#10;&#10;Description automatically generated">
            <a:extLst>
              <a:ext uri="{FF2B5EF4-FFF2-40B4-BE49-F238E27FC236}">
                <a16:creationId xmlns:a16="http://schemas.microsoft.com/office/drawing/2014/main" id="{BB08B6D7-9DFB-0B5A-72BD-AF8D4B6782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8310" y="4267245"/>
            <a:ext cx="2868930" cy="2615879"/>
          </a:xfrm>
          <a:prstGeom prst="rect">
            <a:avLst/>
          </a:prstGeom>
        </p:spPr>
      </p:pic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95F69B26-C1D2-001D-7B52-E91D153AC3C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43611" y="0"/>
            <a:ext cx="5848390" cy="6858000"/>
          </a:xfrm>
          <a:custGeom>
            <a:avLst/>
            <a:gdLst>
              <a:gd name="connsiteX0" fmla="*/ 0 w 2528887"/>
              <a:gd name="connsiteY0" fmla="*/ 0 h 2965450"/>
              <a:gd name="connsiteX1" fmla="*/ 2528887 w 2528887"/>
              <a:gd name="connsiteY1" fmla="*/ 0 h 2965450"/>
              <a:gd name="connsiteX2" fmla="*/ 2528887 w 2528887"/>
              <a:gd name="connsiteY2" fmla="*/ 1860271 h 2965450"/>
              <a:gd name="connsiteX3" fmla="*/ 1471752 w 2528887"/>
              <a:gd name="connsiteY3" fmla="*/ 2471208 h 2965450"/>
              <a:gd name="connsiteX4" fmla="*/ 1355055 w 2528887"/>
              <a:gd name="connsiteY4" fmla="*/ 2587218 h 2965450"/>
              <a:gd name="connsiteX5" fmla="*/ 1355055 w 2528887"/>
              <a:gd name="connsiteY5" fmla="*/ 2905043 h 2965450"/>
              <a:gd name="connsiteX6" fmla="*/ 1381827 w 2528887"/>
              <a:gd name="connsiteY6" fmla="*/ 2965450 h 2965450"/>
              <a:gd name="connsiteX7" fmla="*/ 0 w 2528887"/>
              <a:gd name="connsiteY7" fmla="*/ 2965450 h 2965450"/>
              <a:gd name="connsiteX8" fmla="*/ 0 w 2528887"/>
              <a:gd name="connsiteY8" fmla="*/ 0 h 2965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28887" h="2965450">
                <a:moveTo>
                  <a:pt x="0" y="0"/>
                </a:moveTo>
                <a:lnTo>
                  <a:pt x="2528887" y="0"/>
                </a:lnTo>
                <a:cubicBezTo>
                  <a:pt x="2528887" y="0"/>
                  <a:pt x="2528887" y="0"/>
                  <a:pt x="2528887" y="1860271"/>
                </a:cubicBezTo>
                <a:cubicBezTo>
                  <a:pt x="2528887" y="1860271"/>
                  <a:pt x="2528887" y="1860271"/>
                  <a:pt x="1471752" y="2471208"/>
                </a:cubicBezTo>
                <a:cubicBezTo>
                  <a:pt x="1424387" y="2497980"/>
                  <a:pt x="1383886" y="2537794"/>
                  <a:pt x="1355055" y="2587218"/>
                </a:cubicBezTo>
                <a:cubicBezTo>
                  <a:pt x="1298766" y="2685380"/>
                  <a:pt x="1298766" y="2806881"/>
                  <a:pt x="1355055" y="2905043"/>
                </a:cubicBezTo>
                <a:cubicBezTo>
                  <a:pt x="1366725" y="2924263"/>
                  <a:pt x="1375649" y="2944857"/>
                  <a:pt x="1381827" y="2965450"/>
                </a:cubicBezTo>
                <a:cubicBezTo>
                  <a:pt x="1381827" y="2965450"/>
                  <a:pt x="1381827" y="2965450"/>
                  <a:pt x="0" y="2965450"/>
                </a:cubicBezTo>
                <a:cubicBezTo>
                  <a:pt x="0" y="2965450"/>
                  <a:pt x="0" y="2965450"/>
                  <a:pt x="0" y="0"/>
                </a:cubicBezTo>
                <a:close/>
              </a:path>
            </a:pathLst>
          </a:custGeom>
        </p:spPr>
        <p:txBody>
          <a:bodyPr wrap="square" tIns="2448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63BE2014-6BFF-DAD9-7999-3E949686F4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101263" y="5823685"/>
            <a:ext cx="1837784" cy="51112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7F9764D7-E923-76E5-5F12-8E69C326B0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add footnote or delete text box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02ED556-318C-0990-9C21-48245CFA04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3925886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61102B7-5897-6D37-B5F8-20800A75B7A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6096" y="1996924"/>
            <a:ext cx="11174232" cy="4054626"/>
          </a:xfrm>
          <a:custGeom>
            <a:avLst/>
            <a:gdLst>
              <a:gd name="connsiteX0" fmla="*/ 0 w 7893376"/>
              <a:gd name="connsiteY0" fmla="*/ 0 h 2864151"/>
              <a:gd name="connsiteX1" fmla="*/ 717120 w 7893376"/>
              <a:gd name="connsiteY1" fmla="*/ 0 h 2864151"/>
              <a:gd name="connsiteX2" fmla="*/ 1389435 w 7893376"/>
              <a:gd name="connsiteY2" fmla="*/ 0 h 2864151"/>
              <a:gd name="connsiteX3" fmla="*/ 2018390 w 7893376"/>
              <a:gd name="connsiteY3" fmla="*/ 0 h 2864151"/>
              <a:gd name="connsiteX4" fmla="*/ 2605431 w 7893376"/>
              <a:gd name="connsiteY4" fmla="*/ 0 h 2864151"/>
              <a:gd name="connsiteX5" fmla="*/ 3152004 w 7893376"/>
              <a:gd name="connsiteY5" fmla="*/ 0 h 2864151"/>
              <a:gd name="connsiteX6" fmla="*/ 3659552 w 7893376"/>
              <a:gd name="connsiteY6" fmla="*/ 0 h 2864151"/>
              <a:gd name="connsiteX7" fmla="*/ 4129522 w 7893376"/>
              <a:gd name="connsiteY7" fmla="*/ 0 h 2864151"/>
              <a:gd name="connsiteX8" fmla="*/ 4563359 w 7893376"/>
              <a:gd name="connsiteY8" fmla="*/ 0 h 2864151"/>
              <a:gd name="connsiteX9" fmla="*/ 4962508 w 7893376"/>
              <a:gd name="connsiteY9" fmla="*/ 0 h 2864151"/>
              <a:gd name="connsiteX10" fmla="*/ 5328415 w 7893376"/>
              <a:gd name="connsiteY10" fmla="*/ 0 h 2864151"/>
              <a:gd name="connsiteX11" fmla="*/ 5662525 w 7893376"/>
              <a:gd name="connsiteY11" fmla="*/ 0 h 2864151"/>
              <a:gd name="connsiteX12" fmla="*/ 5966283 w 7893376"/>
              <a:gd name="connsiteY12" fmla="*/ 0 h 2864151"/>
              <a:gd name="connsiteX13" fmla="*/ 6241135 w 7893376"/>
              <a:gd name="connsiteY13" fmla="*/ 0 h 2864151"/>
              <a:gd name="connsiteX14" fmla="*/ 6488526 w 7893376"/>
              <a:gd name="connsiteY14" fmla="*/ 0 h 2864151"/>
              <a:gd name="connsiteX15" fmla="*/ 6709900 w 7893376"/>
              <a:gd name="connsiteY15" fmla="*/ 0 h 2864151"/>
              <a:gd name="connsiteX16" fmla="*/ 6906705 w 7893376"/>
              <a:gd name="connsiteY16" fmla="*/ 0 h 2864151"/>
              <a:gd name="connsiteX17" fmla="*/ 7080384 w 7893376"/>
              <a:gd name="connsiteY17" fmla="*/ 0 h 2864151"/>
              <a:gd name="connsiteX18" fmla="*/ 7232384 w 7893376"/>
              <a:gd name="connsiteY18" fmla="*/ 0 h 2864151"/>
              <a:gd name="connsiteX19" fmla="*/ 7477125 w 7893376"/>
              <a:gd name="connsiteY19" fmla="*/ 0 h 2864151"/>
              <a:gd name="connsiteX20" fmla="*/ 7652490 w 7893376"/>
              <a:gd name="connsiteY20" fmla="*/ 0 h 2864151"/>
              <a:gd name="connsiteX21" fmla="*/ 7770043 w 7893376"/>
              <a:gd name="connsiteY21" fmla="*/ 0 h 2864151"/>
              <a:gd name="connsiteX22" fmla="*/ 7841345 w 7893376"/>
              <a:gd name="connsiteY22" fmla="*/ 0 h 2864151"/>
              <a:gd name="connsiteX23" fmla="*/ 7877960 w 7893376"/>
              <a:gd name="connsiteY23" fmla="*/ 0 h 2864151"/>
              <a:gd name="connsiteX24" fmla="*/ 7891450 w 7893376"/>
              <a:gd name="connsiteY24" fmla="*/ 0 h 2864151"/>
              <a:gd name="connsiteX25" fmla="*/ 7893376 w 7893376"/>
              <a:gd name="connsiteY25" fmla="*/ 0 h 2864151"/>
              <a:gd name="connsiteX26" fmla="*/ 7893376 w 7893376"/>
              <a:gd name="connsiteY26" fmla="*/ 1424213 h 2864151"/>
              <a:gd name="connsiteX27" fmla="*/ 7343668 w 7893376"/>
              <a:gd name="connsiteY27" fmla="*/ 1424213 h 2864151"/>
              <a:gd name="connsiteX28" fmla="*/ 6951018 w 7893376"/>
              <a:gd name="connsiteY28" fmla="*/ 1424213 h 2864151"/>
              <a:gd name="connsiteX29" fmla="*/ 6735622 w 7893376"/>
              <a:gd name="connsiteY29" fmla="*/ 1426460 h 2864151"/>
              <a:gd name="connsiteX30" fmla="*/ 6567344 w 7893376"/>
              <a:gd name="connsiteY30" fmla="*/ 1469141 h 2864151"/>
              <a:gd name="connsiteX31" fmla="*/ 6307073 w 7893376"/>
              <a:gd name="connsiteY31" fmla="*/ 1709505 h 2864151"/>
              <a:gd name="connsiteX32" fmla="*/ 5782045 w 7893376"/>
              <a:gd name="connsiteY32" fmla="*/ 2646251 h 2864151"/>
              <a:gd name="connsiteX33" fmla="*/ 5708002 w 7893376"/>
              <a:gd name="connsiteY33" fmla="*/ 2864151 h 2864151"/>
              <a:gd name="connsiteX34" fmla="*/ 5189426 w 7893376"/>
              <a:gd name="connsiteY34" fmla="*/ 2864151 h 2864151"/>
              <a:gd name="connsiteX35" fmla="*/ 4703249 w 7893376"/>
              <a:gd name="connsiteY35" fmla="*/ 2864151 h 2864151"/>
              <a:gd name="connsiteX36" fmla="*/ 4248427 w 7893376"/>
              <a:gd name="connsiteY36" fmla="*/ 2864151 h 2864151"/>
              <a:gd name="connsiteX37" fmla="*/ 3823916 w 7893376"/>
              <a:gd name="connsiteY37" fmla="*/ 2864151 h 2864151"/>
              <a:gd name="connsiteX38" fmla="*/ 3428669 w 7893376"/>
              <a:gd name="connsiteY38" fmla="*/ 2864151 h 2864151"/>
              <a:gd name="connsiteX39" fmla="*/ 3061641 w 7893376"/>
              <a:gd name="connsiteY39" fmla="*/ 2864151 h 2864151"/>
              <a:gd name="connsiteX40" fmla="*/ 2721788 w 7893376"/>
              <a:gd name="connsiteY40" fmla="*/ 2864151 h 2864151"/>
              <a:gd name="connsiteX41" fmla="*/ 2408064 w 7893376"/>
              <a:gd name="connsiteY41" fmla="*/ 2864151 h 2864151"/>
              <a:gd name="connsiteX42" fmla="*/ 2119424 w 7893376"/>
              <a:gd name="connsiteY42" fmla="*/ 2864151 h 2864151"/>
              <a:gd name="connsiteX43" fmla="*/ 1854822 w 7893376"/>
              <a:gd name="connsiteY43" fmla="*/ 2864151 h 2864151"/>
              <a:gd name="connsiteX44" fmla="*/ 1613215 w 7893376"/>
              <a:gd name="connsiteY44" fmla="*/ 2864151 h 2864151"/>
              <a:gd name="connsiteX45" fmla="*/ 1393555 w 7893376"/>
              <a:gd name="connsiteY45" fmla="*/ 2864151 h 2864151"/>
              <a:gd name="connsiteX46" fmla="*/ 1194800 w 7893376"/>
              <a:gd name="connsiteY46" fmla="*/ 2864151 h 2864151"/>
              <a:gd name="connsiteX47" fmla="*/ 1015902 w 7893376"/>
              <a:gd name="connsiteY47" fmla="*/ 2864151 h 2864151"/>
              <a:gd name="connsiteX48" fmla="*/ 713501 w 7893376"/>
              <a:gd name="connsiteY48" fmla="*/ 2864151 h 2864151"/>
              <a:gd name="connsiteX49" fmla="*/ 477990 w 7893376"/>
              <a:gd name="connsiteY49" fmla="*/ 2864151 h 2864151"/>
              <a:gd name="connsiteX50" fmla="*/ 301008 w 7893376"/>
              <a:gd name="connsiteY50" fmla="*/ 2864151 h 2864151"/>
              <a:gd name="connsiteX51" fmla="*/ 174195 w 7893376"/>
              <a:gd name="connsiteY51" fmla="*/ 2864151 h 2864151"/>
              <a:gd name="connsiteX52" fmla="*/ 89188 w 7893376"/>
              <a:gd name="connsiteY52" fmla="*/ 2864151 h 2864151"/>
              <a:gd name="connsiteX53" fmla="*/ 37626 w 7893376"/>
              <a:gd name="connsiteY53" fmla="*/ 2864151 h 2864151"/>
              <a:gd name="connsiteX54" fmla="*/ 11149 w 7893376"/>
              <a:gd name="connsiteY54" fmla="*/ 2864151 h 2864151"/>
              <a:gd name="connsiteX55" fmla="*/ 0 w 7893376"/>
              <a:gd name="connsiteY55" fmla="*/ 2864151 h 2864151"/>
              <a:gd name="connsiteX56" fmla="*/ 0 w 7893376"/>
              <a:gd name="connsiteY56" fmla="*/ 0 h 2864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7893376" h="2864151">
                <a:moveTo>
                  <a:pt x="0" y="0"/>
                </a:moveTo>
                <a:lnTo>
                  <a:pt x="717120" y="0"/>
                </a:lnTo>
                <a:lnTo>
                  <a:pt x="1389435" y="0"/>
                </a:lnTo>
                <a:lnTo>
                  <a:pt x="2018390" y="0"/>
                </a:lnTo>
                <a:lnTo>
                  <a:pt x="2605431" y="0"/>
                </a:lnTo>
                <a:lnTo>
                  <a:pt x="3152004" y="0"/>
                </a:lnTo>
                <a:lnTo>
                  <a:pt x="3659552" y="0"/>
                </a:lnTo>
                <a:lnTo>
                  <a:pt x="4129522" y="0"/>
                </a:lnTo>
                <a:lnTo>
                  <a:pt x="4563359" y="0"/>
                </a:lnTo>
                <a:lnTo>
                  <a:pt x="4962508" y="0"/>
                </a:lnTo>
                <a:lnTo>
                  <a:pt x="5328415" y="0"/>
                </a:lnTo>
                <a:lnTo>
                  <a:pt x="5662525" y="0"/>
                </a:lnTo>
                <a:lnTo>
                  <a:pt x="5966283" y="0"/>
                </a:lnTo>
                <a:lnTo>
                  <a:pt x="6241135" y="0"/>
                </a:lnTo>
                <a:lnTo>
                  <a:pt x="6488526" y="0"/>
                </a:lnTo>
                <a:lnTo>
                  <a:pt x="6709900" y="0"/>
                </a:lnTo>
                <a:lnTo>
                  <a:pt x="6906705" y="0"/>
                </a:lnTo>
                <a:lnTo>
                  <a:pt x="7080384" y="0"/>
                </a:lnTo>
                <a:lnTo>
                  <a:pt x="7232384" y="0"/>
                </a:lnTo>
                <a:lnTo>
                  <a:pt x="7477125" y="0"/>
                </a:lnTo>
                <a:lnTo>
                  <a:pt x="7652490" y="0"/>
                </a:lnTo>
                <a:lnTo>
                  <a:pt x="7770043" y="0"/>
                </a:lnTo>
                <a:lnTo>
                  <a:pt x="7841345" y="0"/>
                </a:lnTo>
                <a:lnTo>
                  <a:pt x="7877960" y="0"/>
                </a:lnTo>
                <a:lnTo>
                  <a:pt x="7891450" y="0"/>
                </a:lnTo>
                <a:lnTo>
                  <a:pt x="7893376" y="0"/>
                </a:lnTo>
                <a:lnTo>
                  <a:pt x="7893376" y="1424213"/>
                </a:lnTo>
                <a:lnTo>
                  <a:pt x="7343668" y="1424213"/>
                </a:lnTo>
                <a:cubicBezTo>
                  <a:pt x="7213532" y="1424213"/>
                  <a:pt x="7083397" y="1424213"/>
                  <a:pt x="6951018" y="1424213"/>
                </a:cubicBezTo>
                <a:cubicBezTo>
                  <a:pt x="6879220" y="1424213"/>
                  <a:pt x="6807420" y="1421967"/>
                  <a:pt x="6735622" y="1426460"/>
                </a:cubicBezTo>
                <a:cubicBezTo>
                  <a:pt x="6679529" y="1433199"/>
                  <a:pt x="6621192" y="1444431"/>
                  <a:pt x="6567344" y="1469141"/>
                </a:cubicBezTo>
                <a:cubicBezTo>
                  <a:pt x="6455158" y="1518562"/>
                  <a:pt x="6367653" y="1603925"/>
                  <a:pt x="6307073" y="1709505"/>
                </a:cubicBezTo>
                <a:cubicBezTo>
                  <a:pt x="6044558" y="2174508"/>
                  <a:pt x="6042315" y="2181248"/>
                  <a:pt x="5782045" y="2646251"/>
                </a:cubicBezTo>
                <a:cubicBezTo>
                  <a:pt x="5741658" y="2713643"/>
                  <a:pt x="5716977" y="2787774"/>
                  <a:pt x="5708002" y="2864151"/>
                </a:cubicBezTo>
                <a:lnTo>
                  <a:pt x="5189426" y="2864151"/>
                </a:lnTo>
                <a:lnTo>
                  <a:pt x="4703249" y="2864151"/>
                </a:lnTo>
                <a:lnTo>
                  <a:pt x="4248427" y="2864151"/>
                </a:lnTo>
                <a:lnTo>
                  <a:pt x="3823916" y="2864151"/>
                </a:lnTo>
                <a:lnTo>
                  <a:pt x="3428669" y="2864151"/>
                </a:lnTo>
                <a:lnTo>
                  <a:pt x="3061641" y="2864151"/>
                </a:lnTo>
                <a:lnTo>
                  <a:pt x="2721788" y="2864151"/>
                </a:lnTo>
                <a:lnTo>
                  <a:pt x="2408064" y="2864151"/>
                </a:lnTo>
                <a:lnTo>
                  <a:pt x="2119424" y="2864151"/>
                </a:lnTo>
                <a:lnTo>
                  <a:pt x="1854822" y="2864151"/>
                </a:lnTo>
                <a:lnTo>
                  <a:pt x="1613215" y="2864151"/>
                </a:lnTo>
                <a:lnTo>
                  <a:pt x="1393555" y="2864151"/>
                </a:lnTo>
                <a:lnTo>
                  <a:pt x="1194800" y="2864151"/>
                </a:lnTo>
                <a:lnTo>
                  <a:pt x="1015902" y="2864151"/>
                </a:lnTo>
                <a:lnTo>
                  <a:pt x="713501" y="2864151"/>
                </a:lnTo>
                <a:lnTo>
                  <a:pt x="477990" y="2864151"/>
                </a:lnTo>
                <a:lnTo>
                  <a:pt x="301008" y="2864151"/>
                </a:lnTo>
                <a:lnTo>
                  <a:pt x="174195" y="2864151"/>
                </a:lnTo>
                <a:lnTo>
                  <a:pt x="89188" y="2864151"/>
                </a:lnTo>
                <a:lnTo>
                  <a:pt x="37626" y="2864151"/>
                </a:lnTo>
                <a:lnTo>
                  <a:pt x="11149" y="2864151"/>
                </a:lnTo>
                <a:lnTo>
                  <a:pt x="0" y="2864151"/>
                </a:ln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</p:spPr>
        <p:txBody>
          <a:bodyPr wrap="square" tIns="828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12" name="Picture 11" descr="A yellow and orange gradient&#10;&#10;Description automatically generated">
            <a:extLst>
              <a:ext uri="{FF2B5EF4-FFF2-40B4-BE49-F238E27FC236}">
                <a16:creationId xmlns:a16="http://schemas.microsoft.com/office/drawing/2014/main" id="{B5EA0191-64B2-37EE-1EB3-A2B96BACF1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5365" y="3952078"/>
            <a:ext cx="3189242" cy="213648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872663" y="4848225"/>
            <a:ext cx="1760013" cy="7981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D5F72E-9CFA-4DC4-D9DD-072AFE58471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2532163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355739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900BD1E-106D-6745-BCC4-EA41A3289CE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0313" y="5359139"/>
            <a:ext cx="3582988" cy="69241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5465762" cy="3190875"/>
          </a:xfrm>
        </p:spPr>
        <p:txBody>
          <a:bodyPr lIns="90000" tIns="90000">
            <a:normAutofit/>
          </a:bodyPr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0C074D9A-3ED8-DCC3-7AE2-07A9E42A504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10313" y="2073275"/>
            <a:ext cx="5465762" cy="3190875"/>
          </a:xfrm>
        </p:spPr>
        <p:txBody>
          <a:bodyPr lIns="90000" tIns="90000">
            <a:normAutofit/>
          </a:bodyPr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82988" cy="69241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37E8A8-F9EE-A285-FF1E-7C72507165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4918750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4839" y="1573620"/>
            <a:ext cx="3562349" cy="355738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 noProof="0"/>
              <a:t>Click to edit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3562349" cy="3190875"/>
          </a:xfrm>
        </p:spPr>
        <p:txBody>
          <a:bodyPr lIns="90000" tIns="90000">
            <a:normAutofit/>
          </a:bodyPr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62349" cy="69241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6930683-2C07-515F-6B98-21313F587FC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406901" y="1573620"/>
            <a:ext cx="3562349" cy="355738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 noProof="0"/>
              <a:t>Click to edit text styles</a:t>
            </a:r>
          </a:p>
        </p:txBody>
      </p:sp>
      <p:sp>
        <p:nvSpPr>
          <p:cNvPr id="8" name="Picture Placeholder 13">
            <a:extLst>
              <a:ext uri="{FF2B5EF4-FFF2-40B4-BE49-F238E27FC236}">
                <a16:creationId xmlns:a16="http://schemas.microsoft.com/office/drawing/2014/main" id="{5A4C5A24-7447-AF6B-CB8A-1CA59B1247E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406900" y="2073275"/>
            <a:ext cx="3562349" cy="3190875"/>
          </a:xfrm>
        </p:spPr>
        <p:txBody>
          <a:bodyPr lIns="90000" tIns="90000">
            <a:normAutofit/>
          </a:bodyPr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A5FB49C-AB6F-0460-96FD-E8379B6900E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06900" y="5359139"/>
            <a:ext cx="3562349" cy="69241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DEC9EC0-0A9C-AD30-D8B4-BDAFC16D9D6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210552" y="1573620"/>
            <a:ext cx="3562349" cy="355738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 noProof="0"/>
              <a:t>Click to edit text styles</a:t>
            </a:r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6CFA9FC5-F07D-1CC2-DC50-3EB8E61D911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210551" y="2073275"/>
            <a:ext cx="3562349" cy="3190875"/>
          </a:xfrm>
        </p:spPr>
        <p:txBody>
          <a:bodyPr lIns="90000" tIns="90000">
            <a:normAutofit/>
          </a:bodyPr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ACC3CE1F-FC53-0F86-9C92-D632E6EFFFF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10551" y="5359139"/>
            <a:ext cx="3562349" cy="69241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ECA0151-005B-24C8-CF3E-521AC30F0A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957659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[Light] + 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yellow and orange gradient&#10;&#10;Description automatically generated">
            <a:extLst>
              <a:ext uri="{FF2B5EF4-FFF2-40B4-BE49-F238E27FC236}">
                <a16:creationId xmlns:a16="http://schemas.microsoft.com/office/drawing/2014/main" id="{816D6385-18A1-6221-5006-883352883F8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6715" y="4075977"/>
            <a:ext cx="4333396" cy="292332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9856" y="6449644"/>
            <a:ext cx="2687994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A92187FE-E661-7028-83F4-C00A7BBC9C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250680" y="5242706"/>
            <a:ext cx="1900238" cy="80757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DCD79BA-CAF7-9026-0080-6F10C42F5DD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5391287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+ Shap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6900CA3A-D5C6-6306-F264-B33E7114A57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5276289"/>
            <a:ext cx="4892510" cy="15911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742DB7D-E407-5F5A-966C-150D9FA07A5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31386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blots on a white background&#10;&#10;Description automatically generated">
            <a:extLst>
              <a:ext uri="{FF2B5EF4-FFF2-40B4-BE49-F238E27FC236}">
                <a16:creationId xmlns:a16="http://schemas.microsoft.com/office/drawing/2014/main" id="{38AE2E2E-B5FC-5672-3429-3E8A6AB109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84" t="2925" r="9124" b="489"/>
          <a:stretch/>
        </p:blipFill>
        <p:spPr>
          <a:xfrm>
            <a:off x="4734046" y="-1"/>
            <a:ext cx="7457955" cy="6858001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3562350" cy="228028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EDF5900-301D-289B-13AA-44A39C31E15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1938679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Caption + Large Copy [L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84EBD29-A2BA-219B-6568-CD365506F9B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6070600" cy="6858000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>
            <a:normAutofit/>
          </a:bodyPr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233035"/>
            <a:ext cx="3562390" cy="81851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2A464A1-EE84-A23B-881D-10670F2C8A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2400387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Caption + Large Copy [Shap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5B02303-1EE2-81CD-39CF-6C01FF93C20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3811" y="0"/>
            <a:ext cx="6092517" cy="6858000"/>
          </a:xfrm>
          <a:custGeom>
            <a:avLst/>
            <a:gdLst>
              <a:gd name="connsiteX0" fmla="*/ 0 w 3702050"/>
              <a:gd name="connsiteY0" fmla="*/ 0 h 4167187"/>
              <a:gd name="connsiteX1" fmla="*/ 3702050 w 3702050"/>
              <a:gd name="connsiteY1" fmla="*/ 0 h 4167187"/>
              <a:gd name="connsiteX2" fmla="*/ 3702050 w 3702050"/>
              <a:gd name="connsiteY2" fmla="*/ 4167187 h 4167187"/>
              <a:gd name="connsiteX3" fmla="*/ 2952573 w 3702050"/>
              <a:gd name="connsiteY3" fmla="*/ 4167187 h 4167187"/>
              <a:gd name="connsiteX4" fmla="*/ 1403461 w 3702050"/>
              <a:gd name="connsiteY4" fmla="*/ 3267190 h 4167187"/>
              <a:gd name="connsiteX5" fmla="*/ 746584 w 3702050"/>
              <a:gd name="connsiteY5" fmla="*/ 3443717 h 4167187"/>
              <a:gd name="connsiteX6" fmla="*/ 333744 w 3702050"/>
              <a:gd name="connsiteY6" fmla="*/ 3685838 h 4167187"/>
              <a:gd name="connsiteX7" fmla="*/ 323134 w 3702050"/>
              <a:gd name="connsiteY7" fmla="*/ 3685838 h 4167187"/>
              <a:gd name="connsiteX8" fmla="*/ 0 w 3702050"/>
              <a:gd name="connsiteY8" fmla="*/ 3817992 h 4167187"/>
              <a:gd name="connsiteX9" fmla="*/ 0 w 3702050"/>
              <a:gd name="connsiteY9" fmla="*/ 3737980 h 4167187"/>
              <a:gd name="connsiteX10" fmla="*/ 0 w 3702050"/>
              <a:gd name="connsiteY10" fmla="*/ 0 h 4167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702050" h="4167187">
                <a:moveTo>
                  <a:pt x="0" y="0"/>
                </a:moveTo>
                <a:lnTo>
                  <a:pt x="3702050" y="0"/>
                </a:lnTo>
                <a:cubicBezTo>
                  <a:pt x="3702050" y="0"/>
                  <a:pt x="3702050" y="0"/>
                  <a:pt x="3702050" y="4167187"/>
                </a:cubicBezTo>
                <a:cubicBezTo>
                  <a:pt x="3702050" y="4167187"/>
                  <a:pt x="3702050" y="4167187"/>
                  <a:pt x="2952573" y="4167187"/>
                </a:cubicBezTo>
                <a:cubicBezTo>
                  <a:pt x="2952573" y="4167187"/>
                  <a:pt x="2952573" y="4167187"/>
                  <a:pt x="1403461" y="3267190"/>
                </a:cubicBezTo>
                <a:cubicBezTo>
                  <a:pt x="1172927" y="3134072"/>
                  <a:pt x="879695" y="3213171"/>
                  <a:pt x="746584" y="3443717"/>
                </a:cubicBezTo>
                <a:cubicBezTo>
                  <a:pt x="658807" y="3597093"/>
                  <a:pt x="498687" y="3683909"/>
                  <a:pt x="333744" y="3685838"/>
                </a:cubicBezTo>
                <a:cubicBezTo>
                  <a:pt x="333744" y="3685838"/>
                  <a:pt x="333744" y="3685838"/>
                  <a:pt x="323134" y="3685838"/>
                </a:cubicBezTo>
                <a:cubicBezTo>
                  <a:pt x="197739" y="3687768"/>
                  <a:pt x="83919" y="3737928"/>
                  <a:pt x="0" y="3817992"/>
                </a:cubicBezTo>
                <a:lnTo>
                  <a:pt x="0" y="3737980"/>
                </a:lnTo>
                <a:cubicBezTo>
                  <a:pt x="0" y="3251545"/>
                  <a:pt x="0" y="2213818"/>
                  <a:pt x="0" y="0"/>
                </a:cubicBezTo>
                <a:close/>
              </a:path>
            </a:pathLst>
          </a:custGeom>
        </p:spPr>
        <p:txBody>
          <a:bodyPr wrap="square" lIns="90000" tIns="90000">
            <a:noAutofit/>
          </a:bodyPr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>
            <a:normAutofit/>
          </a:bodyPr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1FBC89-74CA-0EA5-E00A-CE9A96E9D7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6436133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/Caption + Large Copy [Dar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84EBD29-A2BA-219B-6568-CD365506F9B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6070600" cy="6858000"/>
          </a:xfrm>
          <a:solidFill>
            <a:schemeClr val="tx1"/>
          </a:solidFill>
        </p:spPr>
        <p:txBody>
          <a:bodyPr lIns="90000" tIns="90000"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>
            <a:normAutofit/>
          </a:bodyPr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233035"/>
            <a:ext cx="3562390" cy="81851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AE4799D-5266-2C4B-5856-EB8982C687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4000" y="6134400"/>
            <a:ext cx="3438000" cy="641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26092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Image,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orange gradient&#10;&#10;Description automatically generated">
            <a:extLst>
              <a:ext uri="{FF2B5EF4-FFF2-40B4-BE49-F238E27FC236}">
                <a16:creationId xmlns:a16="http://schemas.microsoft.com/office/drawing/2014/main" id="{D2F55EE1-7460-5919-DC57-5004602FC1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6535" y="5010151"/>
            <a:ext cx="3449872" cy="1851438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5DA7FDAF-9EA2-3D56-E09E-312DA2459881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397535" y="0"/>
            <a:ext cx="6794466" cy="6858000"/>
          </a:xfrm>
          <a:custGeom>
            <a:avLst/>
            <a:gdLst>
              <a:gd name="connsiteX0" fmla="*/ 0 w 2716213"/>
              <a:gd name="connsiteY0" fmla="*/ 0 h 2741612"/>
              <a:gd name="connsiteX1" fmla="*/ 2716213 w 2716213"/>
              <a:gd name="connsiteY1" fmla="*/ 0 h 2741612"/>
              <a:gd name="connsiteX2" fmla="*/ 2716213 w 2716213"/>
              <a:gd name="connsiteY2" fmla="*/ 2741612 h 2741612"/>
              <a:gd name="connsiteX3" fmla="*/ 1821386 w 2716213"/>
              <a:gd name="connsiteY3" fmla="*/ 2741612 h 2741612"/>
              <a:gd name="connsiteX4" fmla="*/ 1808693 w 2716213"/>
              <a:gd name="connsiteY4" fmla="*/ 2468720 h 2741612"/>
              <a:gd name="connsiteX5" fmla="*/ 1707153 w 2716213"/>
              <a:gd name="connsiteY5" fmla="*/ 2221214 h 2741612"/>
              <a:gd name="connsiteX6" fmla="*/ 1497725 w 2716213"/>
              <a:gd name="connsiteY6" fmla="*/ 2062556 h 2741612"/>
              <a:gd name="connsiteX7" fmla="*/ 1237527 w 2716213"/>
              <a:gd name="connsiteY7" fmla="*/ 2030824 h 2741612"/>
              <a:gd name="connsiteX8" fmla="*/ 1104255 w 2716213"/>
              <a:gd name="connsiteY8" fmla="*/ 2062556 h 2741612"/>
              <a:gd name="connsiteX9" fmla="*/ 990022 w 2716213"/>
              <a:gd name="connsiteY9" fmla="*/ 2132365 h 2741612"/>
              <a:gd name="connsiteX10" fmla="*/ 742516 w 2716213"/>
              <a:gd name="connsiteY10" fmla="*/ 2233906 h 2741612"/>
              <a:gd name="connsiteX11" fmla="*/ 482318 w 2716213"/>
              <a:gd name="connsiteY11" fmla="*/ 2195828 h 2741612"/>
              <a:gd name="connsiteX12" fmla="*/ 272891 w 2716213"/>
              <a:gd name="connsiteY12" fmla="*/ 2037170 h 2741612"/>
              <a:gd name="connsiteX13" fmla="*/ 171350 w 2716213"/>
              <a:gd name="connsiteY13" fmla="*/ 1789664 h 2741612"/>
              <a:gd name="connsiteX14" fmla="*/ 203082 w 2716213"/>
              <a:gd name="connsiteY14" fmla="*/ 1529464 h 2741612"/>
              <a:gd name="connsiteX15" fmla="*/ 368085 w 2716213"/>
              <a:gd name="connsiteY15" fmla="*/ 1320036 h 2741612"/>
              <a:gd name="connsiteX16" fmla="*/ 526742 w 2716213"/>
              <a:gd name="connsiteY16" fmla="*/ 1104261 h 2741612"/>
              <a:gd name="connsiteX17" fmla="*/ 558474 w 2716213"/>
              <a:gd name="connsiteY17" fmla="*/ 844061 h 2741612"/>
              <a:gd name="connsiteX18" fmla="*/ 456933 w 2716213"/>
              <a:gd name="connsiteY18" fmla="*/ 596555 h 2741612"/>
              <a:gd name="connsiteX19" fmla="*/ 0 w 2716213"/>
              <a:gd name="connsiteY19" fmla="*/ 0 h 2741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716213" h="2741612">
                <a:moveTo>
                  <a:pt x="0" y="0"/>
                </a:moveTo>
                <a:lnTo>
                  <a:pt x="2716213" y="0"/>
                </a:lnTo>
                <a:cubicBezTo>
                  <a:pt x="2716213" y="2741612"/>
                  <a:pt x="2716213" y="2741612"/>
                  <a:pt x="2716213" y="2741612"/>
                </a:cubicBezTo>
                <a:cubicBezTo>
                  <a:pt x="1821386" y="2741612"/>
                  <a:pt x="1821386" y="2741612"/>
                  <a:pt x="1821386" y="2741612"/>
                </a:cubicBezTo>
                <a:cubicBezTo>
                  <a:pt x="1827732" y="2652764"/>
                  <a:pt x="1821386" y="2557569"/>
                  <a:pt x="1808693" y="2468720"/>
                </a:cubicBezTo>
                <a:cubicBezTo>
                  <a:pt x="1796001" y="2373525"/>
                  <a:pt x="1764269" y="2291023"/>
                  <a:pt x="1707153" y="2221214"/>
                </a:cubicBezTo>
                <a:cubicBezTo>
                  <a:pt x="1656382" y="2151404"/>
                  <a:pt x="1580227" y="2094287"/>
                  <a:pt x="1497725" y="2062556"/>
                </a:cubicBezTo>
                <a:cubicBezTo>
                  <a:pt x="1415223" y="2030824"/>
                  <a:pt x="1326375" y="2018131"/>
                  <a:pt x="1237527" y="2030824"/>
                </a:cubicBezTo>
                <a:cubicBezTo>
                  <a:pt x="1186757" y="2037170"/>
                  <a:pt x="1142333" y="2043517"/>
                  <a:pt x="1104255" y="2062556"/>
                </a:cubicBezTo>
                <a:cubicBezTo>
                  <a:pt x="1059831" y="2081594"/>
                  <a:pt x="1021753" y="2100633"/>
                  <a:pt x="990022" y="2132365"/>
                </a:cubicBezTo>
                <a:cubicBezTo>
                  <a:pt x="920213" y="2183136"/>
                  <a:pt x="837711" y="2221214"/>
                  <a:pt x="742516" y="2233906"/>
                </a:cubicBezTo>
                <a:cubicBezTo>
                  <a:pt x="653668" y="2246599"/>
                  <a:pt x="564820" y="2227560"/>
                  <a:pt x="482318" y="2195828"/>
                </a:cubicBezTo>
                <a:cubicBezTo>
                  <a:pt x="399817" y="2164097"/>
                  <a:pt x="323661" y="2106980"/>
                  <a:pt x="272891" y="2037170"/>
                </a:cubicBezTo>
                <a:cubicBezTo>
                  <a:pt x="215774" y="1967361"/>
                  <a:pt x="184043" y="1884858"/>
                  <a:pt x="171350" y="1789664"/>
                </a:cubicBezTo>
                <a:cubicBezTo>
                  <a:pt x="158658" y="1700815"/>
                  <a:pt x="171350" y="1605620"/>
                  <a:pt x="203082" y="1529464"/>
                </a:cubicBezTo>
                <a:cubicBezTo>
                  <a:pt x="241159" y="1446962"/>
                  <a:pt x="291930" y="1370806"/>
                  <a:pt x="368085" y="1320036"/>
                </a:cubicBezTo>
                <a:cubicBezTo>
                  <a:pt x="437894" y="1262919"/>
                  <a:pt x="495011" y="1193109"/>
                  <a:pt x="526742" y="1104261"/>
                </a:cubicBezTo>
                <a:cubicBezTo>
                  <a:pt x="558474" y="1028105"/>
                  <a:pt x="571167" y="939256"/>
                  <a:pt x="558474" y="844061"/>
                </a:cubicBezTo>
                <a:cubicBezTo>
                  <a:pt x="552128" y="748866"/>
                  <a:pt x="514050" y="666364"/>
                  <a:pt x="456933" y="596555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CCA893B-12FC-BEFE-9665-A9C624A56CB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5465762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5020628" cy="3690531"/>
          </a:xfrm>
        </p:spPr>
        <p:txBody>
          <a:bodyPr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9" y="5464175"/>
            <a:ext cx="5465762" cy="587375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add footnote or delete text box</a:t>
            </a:r>
          </a:p>
          <a:p>
            <a:pPr lvl="1"/>
            <a:r>
              <a:rPr lang="en-US" noProof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3223469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Shape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olorful circle and black background&#10;&#10;Description automatically generated">
            <a:extLst>
              <a:ext uri="{FF2B5EF4-FFF2-40B4-BE49-F238E27FC236}">
                <a16:creationId xmlns:a16="http://schemas.microsoft.com/office/drawing/2014/main" id="{CCD54DE9-51DB-FB3B-B34D-8A2AF19C9C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0100" y="0"/>
            <a:ext cx="50419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CCA893B-12FC-BEFE-9665-A9C624A56CB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5491161" cy="3690531"/>
          </a:xfrm>
        </p:spPr>
        <p:txBody>
          <a:bodyPr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9" y="5464175"/>
            <a:ext cx="5465762" cy="587375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add footnote or delete text box</a:t>
            </a:r>
          </a:p>
          <a:p>
            <a:pPr lvl="1"/>
            <a:r>
              <a:rPr lang="en-US" noProof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913324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lorful shapes on a black background&#10;&#10;Description automatically generated">
            <a:extLst>
              <a:ext uri="{FF2B5EF4-FFF2-40B4-BE49-F238E27FC236}">
                <a16:creationId xmlns:a16="http://schemas.microsoft.com/office/drawing/2014/main" id="{F1B3F858-4202-3ECC-4CF1-014AFCF8C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901" y="931963"/>
            <a:ext cx="4579843" cy="4702076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3625" y="300038"/>
            <a:ext cx="5614985" cy="5751512"/>
          </a:xfrm>
        </p:spPr>
        <p:txBody>
          <a:bodyPr>
            <a:normAutofit/>
          </a:bodyPr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5pPr>
          </a:lstStyle>
          <a:p>
            <a:pPr lvl="0"/>
            <a:r>
              <a:rPr lang="en-US" noProof="0"/>
              <a:t>“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013477F-ACAC-7B41-B204-AC139F13B7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52" name="Picture Placeholder 51">
            <a:extLst>
              <a:ext uri="{FF2B5EF4-FFF2-40B4-BE49-F238E27FC236}">
                <a16:creationId xmlns:a16="http://schemas.microsoft.com/office/drawing/2014/main" id="{A5A8B1AB-659B-E21E-7B3A-8E36BF137D4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93633" y="1008462"/>
            <a:ext cx="4240340" cy="4417235"/>
          </a:xfrm>
          <a:custGeom>
            <a:avLst/>
            <a:gdLst>
              <a:gd name="connsiteX0" fmla="*/ 2096858 w 3868865"/>
              <a:gd name="connsiteY0" fmla="*/ 3 h 4030263"/>
              <a:gd name="connsiteX1" fmla="*/ 2819851 w 3868865"/>
              <a:gd name="connsiteY1" fmla="*/ 95046 h 4030263"/>
              <a:gd name="connsiteX2" fmla="*/ 3868865 w 3868865"/>
              <a:gd name="connsiteY2" fmla="*/ 1144367 h 4030263"/>
              <a:gd name="connsiteX3" fmla="*/ 3716746 w 3868865"/>
              <a:gd name="connsiteY3" fmla="*/ 1689723 h 4030263"/>
              <a:gd name="connsiteX4" fmla="*/ 3728915 w 3868865"/>
              <a:gd name="connsiteY4" fmla="*/ 2192472 h 4030263"/>
              <a:gd name="connsiteX5" fmla="*/ 3786112 w 3868865"/>
              <a:gd name="connsiteY5" fmla="*/ 2571056 h 4030263"/>
              <a:gd name="connsiteX6" fmla="*/ 3536637 w 3868865"/>
              <a:gd name="connsiteY6" fmla="*/ 2909468 h 4030263"/>
              <a:gd name="connsiteX7" fmla="*/ 2627573 w 3868865"/>
              <a:gd name="connsiteY7" fmla="*/ 3435346 h 4030263"/>
              <a:gd name="connsiteX8" fmla="*/ 2616620 w 3868865"/>
              <a:gd name="connsiteY8" fmla="*/ 3440215 h 4030263"/>
              <a:gd name="connsiteX9" fmla="*/ 2606885 w 3868865"/>
              <a:gd name="connsiteY9" fmla="*/ 3446302 h 4030263"/>
              <a:gd name="connsiteX10" fmla="*/ 1718509 w 3868865"/>
              <a:gd name="connsiteY10" fmla="*/ 3960007 h 4030263"/>
              <a:gd name="connsiteX11" fmla="*/ 1001723 w 3868865"/>
              <a:gd name="connsiteY11" fmla="*/ 3767672 h 4030263"/>
              <a:gd name="connsiteX12" fmla="*/ 808228 w 3868865"/>
              <a:gd name="connsiteY12" fmla="*/ 3352569 h 4030263"/>
              <a:gd name="connsiteX13" fmla="*/ 196100 w 3868865"/>
              <a:gd name="connsiteY13" fmla="*/ 2746348 h 4030263"/>
              <a:gd name="connsiteX14" fmla="*/ 23293 w 3868865"/>
              <a:gd name="connsiteY14" fmla="*/ 1929533 h 4030263"/>
              <a:gd name="connsiteX15" fmla="*/ 20859 w 3868865"/>
              <a:gd name="connsiteY15" fmla="*/ 878994 h 4030263"/>
              <a:gd name="connsiteX16" fmla="*/ 91442 w 3868865"/>
              <a:gd name="connsiteY16" fmla="*/ 617272 h 4030263"/>
              <a:gd name="connsiteX17" fmla="*/ 808228 w 3868865"/>
              <a:gd name="connsiteY17" fmla="*/ 424937 h 4030263"/>
              <a:gd name="connsiteX18" fmla="*/ 1322999 w 3868865"/>
              <a:gd name="connsiteY18" fmla="*/ 311727 h 4030263"/>
              <a:gd name="connsiteX19" fmla="*/ 1787875 w 3868865"/>
              <a:gd name="connsiteY19" fmla="*/ 146173 h 4030263"/>
              <a:gd name="connsiteX20" fmla="*/ 2096858 w 3868865"/>
              <a:gd name="connsiteY20" fmla="*/ 3 h 4030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865" h="4030263">
                <a:moveTo>
                  <a:pt x="2096858" y="3"/>
                </a:moveTo>
                <a:cubicBezTo>
                  <a:pt x="2313295" y="-532"/>
                  <a:pt x="2585588" y="95046"/>
                  <a:pt x="2819851" y="95046"/>
                </a:cubicBezTo>
                <a:cubicBezTo>
                  <a:pt x="3399121" y="95046"/>
                  <a:pt x="3868865" y="564927"/>
                  <a:pt x="3868865" y="1144367"/>
                </a:cubicBezTo>
                <a:cubicBezTo>
                  <a:pt x="3868865" y="1344006"/>
                  <a:pt x="3812885" y="1531472"/>
                  <a:pt x="3716746" y="1689723"/>
                </a:cubicBezTo>
                <a:cubicBezTo>
                  <a:pt x="3638861" y="1843104"/>
                  <a:pt x="3636427" y="2031787"/>
                  <a:pt x="3728915" y="2192472"/>
                </a:cubicBezTo>
                <a:cubicBezTo>
                  <a:pt x="3792197" y="2302030"/>
                  <a:pt x="3816536" y="2435934"/>
                  <a:pt x="3786112" y="2571056"/>
                </a:cubicBezTo>
                <a:cubicBezTo>
                  <a:pt x="3753254" y="2719568"/>
                  <a:pt x="3659549" y="2838864"/>
                  <a:pt x="3536637" y="2909468"/>
                </a:cubicBezTo>
                <a:cubicBezTo>
                  <a:pt x="3536637" y="2909468"/>
                  <a:pt x="3536637" y="2909468"/>
                  <a:pt x="2627573" y="3435346"/>
                </a:cubicBezTo>
                <a:cubicBezTo>
                  <a:pt x="2623922" y="3436564"/>
                  <a:pt x="2620271" y="3438998"/>
                  <a:pt x="2616620" y="3440215"/>
                </a:cubicBezTo>
                <a:cubicBezTo>
                  <a:pt x="2616620" y="3440215"/>
                  <a:pt x="2616620" y="3440215"/>
                  <a:pt x="2606885" y="3446302"/>
                </a:cubicBezTo>
                <a:cubicBezTo>
                  <a:pt x="2606885" y="3446302"/>
                  <a:pt x="2606885" y="3446302"/>
                  <a:pt x="1718509" y="3960007"/>
                </a:cubicBezTo>
                <a:cubicBezTo>
                  <a:pt x="1467816" y="4104867"/>
                  <a:pt x="1146541" y="4018438"/>
                  <a:pt x="1001723" y="3767672"/>
                </a:cubicBezTo>
                <a:cubicBezTo>
                  <a:pt x="904367" y="3598466"/>
                  <a:pt x="716956" y="3509602"/>
                  <a:pt x="808228" y="3352569"/>
                </a:cubicBezTo>
                <a:cubicBezTo>
                  <a:pt x="953045" y="3101803"/>
                  <a:pt x="197317" y="2746348"/>
                  <a:pt x="196100" y="2746348"/>
                </a:cubicBezTo>
                <a:cubicBezTo>
                  <a:pt x="-93535" y="2746348"/>
                  <a:pt x="23293" y="2219253"/>
                  <a:pt x="23293" y="1929533"/>
                </a:cubicBezTo>
                <a:cubicBezTo>
                  <a:pt x="23293" y="1929533"/>
                  <a:pt x="23293" y="1929533"/>
                  <a:pt x="20859" y="878994"/>
                </a:cubicBezTo>
                <a:cubicBezTo>
                  <a:pt x="20859" y="790130"/>
                  <a:pt x="43981" y="700049"/>
                  <a:pt x="91442" y="617272"/>
                </a:cubicBezTo>
                <a:cubicBezTo>
                  <a:pt x="236260" y="365289"/>
                  <a:pt x="557535" y="280077"/>
                  <a:pt x="808228" y="424937"/>
                </a:cubicBezTo>
                <a:cubicBezTo>
                  <a:pt x="808228" y="424937"/>
                  <a:pt x="808228" y="424937"/>
                  <a:pt x="1322999" y="311727"/>
                </a:cubicBezTo>
                <a:cubicBezTo>
                  <a:pt x="1460515" y="281294"/>
                  <a:pt x="1780573" y="155911"/>
                  <a:pt x="1787875" y="146173"/>
                </a:cubicBezTo>
                <a:cubicBezTo>
                  <a:pt x="1857242" y="35245"/>
                  <a:pt x="1966996" y="324"/>
                  <a:pt x="2096858" y="3"/>
                </a:cubicBezTo>
                <a:close/>
              </a:path>
            </a:pathLst>
          </a:custGeom>
        </p:spPr>
        <p:txBody>
          <a:bodyPr wrap="square" tIns="180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790548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yellow and orange curved object&#10;&#10;Description automatically generated">
            <a:extLst>
              <a:ext uri="{FF2B5EF4-FFF2-40B4-BE49-F238E27FC236}">
                <a16:creationId xmlns:a16="http://schemas.microsoft.com/office/drawing/2014/main" id="{57483916-EB2E-87DB-98E8-A966CED58C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8842" y="4776791"/>
            <a:ext cx="3348165" cy="2081210"/>
          </a:xfrm>
          <a:prstGeom prst="rect">
            <a:avLst/>
          </a:prstGeom>
        </p:spPr>
      </p:pic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66138527-5471-FB55-B600-1CDB5D0A4267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428529" y="0"/>
            <a:ext cx="6763471" cy="6858000"/>
          </a:xfrm>
          <a:custGeom>
            <a:avLst/>
            <a:gdLst>
              <a:gd name="connsiteX0" fmla="*/ 377459 w 3359817"/>
              <a:gd name="connsiteY0" fmla="*/ 0 h 3406775"/>
              <a:gd name="connsiteX1" fmla="*/ 3359817 w 3359817"/>
              <a:gd name="connsiteY1" fmla="*/ 0 h 3406775"/>
              <a:gd name="connsiteX2" fmla="*/ 3359817 w 3359817"/>
              <a:gd name="connsiteY2" fmla="*/ 3406775 h 3406775"/>
              <a:gd name="connsiteX3" fmla="*/ 2223681 w 3359817"/>
              <a:gd name="connsiteY3" fmla="*/ 3406775 h 3406775"/>
              <a:gd name="connsiteX4" fmla="*/ 740392 w 3359817"/>
              <a:gd name="connsiteY4" fmla="*/ 2562967 h 3406775"/>
              <a:gd name="connsiteX5" fmla="*/ 46086 w 3359817"/>
              <a:gd name="connsiteY5" fmla="*/ 1939969 h 3406775"/>
              <a:gd name="connsiteX6" fmla="*/ 235442 w 3359817"/>
              <a:gd name="connsiteY6" fmla="*/ 1033073 h 3406775"/>
              <a:gd name="connsiteX7" fmla="*/ 424798 w 3359817"/>
              <a:gd name="connsiteY7" fmla="*/ 126177 h 3406775"/>
              <a:gd name="connsiteX8" fmla="*/ 377459 w 3359817"/>
              <a:gd name="connsiteY8" fmla="*/ 0 h 340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9817" h="3406775">
                <a:moveTo>
                  <a:pt x="377459" y="0"/>
                </a:moveTo>
                <a:lnTo>
                  <a:pt x="3359817" y="0"/>
                </a:lnTo>
                <a:cubicBezTo>
                  <a:pt x="3359817" y="3406775"/>
                  <a:pt x="3359817" y="3406775"/>
                  <a:pt x="3359817" y="3406775"/>
                </a:cubicBezTo>
                <a:cubicBezTo>
                  <a:pt x="2223681" y="3406775"/>
                  <a:pt x="2223681" y="3406775"/>
                  <a:pt x="2223681" y="3406775"/>
                </a:cubicBezTo>
                <a:cubicBezTo>
                  <a:pt x="1837079" y="2980928"/>
                  <a:pt x="1324239" y="2681258"/>
                  <a:pt x="740392" y="2562967"/>
                </a:cubicBezTo>
                <a:cubicBezTo>
                  <a:pt x="416908" y="2491993"/>
                  <a:pt x="148654" y="2255411"/>
                  <a:pt x="46086" y="1939969"/>
                </a:cubicBezTo>
                <a:cubicBezTo>
                  <a:pt x="-56482" y="1624527"/>
                  <a:pt x="14527" y="1277541"/>
                  <a:pt x="235442" y="1033073"/>
                </a:cubicBezTo>
                <a:cubicBezTo>
                  <a:pt x="456358" y="788605"/>
                  <a:pt x="535256" y="441619"/>
                  <a:pt x="424798" y="126177"/>
                </a:cubicBezTo>
                <a:cubicBezTo>
                  <a:pt x="416908" y="78861"/>
                  <a:pt x="393239" y="39430"/>
                  <a:pt x="377459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836" y="698400"/>
            <a:ext cx="5614985" cy="5004000"/>
          </a:xfrm>
        </p:spPr>
        <p:txBody>
          <a:bodyPr>
            <a:normAutofit/>
          </a:bodyPr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5pPr>
          </a:lstStyle>
          <a:p>
            <a:pPr lvl="0"/>
            <a:r>
              <a:rPr lang="en-US" noProof="0"/>
              <a:t>“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D93DC24-9723-62C8-F4D6-B9024A75AC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3664188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lorful circles on a black background&#10;&#10;Description automatically generated">
            <a:extLst>
              <a:ext uri="{FF2B5EF4-FFF2-40B4-BE49-F238E27FC236}">
                <a16:creationId xmlns:a16="http://schemas.microsoft.com/office/drawing/2014/main" id="{CCEFF532-0F9A-0488-86B3-7965977CFD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9500" y="0"/>
            <a:ext cx="47625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836" y="698400"/>
            <a:ext cx="5614985" cy="5004000"/>
          </a:xfrm>
        </p:spPr>
        <p:txBody>
          <a:bodyPr>
            <a:normAutofit/>
          </a:bodyPr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5pPr>
          </a:lstStyle>
          <a:p>
            <a:pPr lvl="0"/>
            <a:r>
              <a:rPr lang="en-US" noProof="0"/>
              <a:t>“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D93DC24-9723-62C8-F4D6-B9024A75AC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4520454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3026004"/>
            <a:ext cx="3562350" cy="3025546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75F0A8D-0120-75B1-B12F-5E64C97F259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3026004"/>
            <a:ext cx="3562350" cy="3025546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041B38E8-6A7F-0F95-D2F5-B1112565052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3026004"/>
            <a:ext cx="3562350" cy="3025546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D4AF94E-695F-27BB-AE3B-C84EADC2889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32800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54402087-7467-27FD-561D-E2965002769E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4326163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29385420-6F31-EC68-9C2D-7259D954F02B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8119526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2E6770A-1D4D-AD1F-F2F7-085CEBCF79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728696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30324" y="1564849"/>
            <a:ext cx="3562350" cy="1262489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2B7FAE0-3A20-3BA3-BBC0-9EF931A4140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1830324" y="3040144"/>
            <a:ext cx="3562350" cy="1262489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BE7DE02-9488-C606-02DD-66DBAE64E2D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830324" y="4688498"/>
            <a:ext cx="3562350" cy="1262489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1D61909-44A1-96C5-24EC-29733C083C5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542968" y="1564849"/>
            <a:ext cx="3562350" cy="1262489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8F03D7E-D948-AE8B-6268-D0445FA4845C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7542968" y="3040144"/>
            <a:ext cx="3562350" cy="1262489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4A89A1F-F10B-C531-B279-7F71EB330ED8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542968" y="4688498"/>
            <a:ext cx="3562350" cy="1262489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9" name="Picture Placeholder 11">
            <a:extLst>
              <a:ext uri="{FF2B5EF4-FFF2-40B4-BE49-F238E27FC236}">
                <a16:creationId xmlns:a16="http://schemas.microsoft.com/office/drawing/2014/main" id="{F107629B-0875-A1BC-15AB-C67AC1624DC0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5364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49B4C2D4-3903-C213-FD24-64CE96C1979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364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11">
            <a:extLst>
              <a:ext uri="{FF2B5EF4-FFF2-40B4-BE49-F238E27FC236}">
                <a16:creationId xmlns:a16="http://schemas.microsoft.com/office/drawing/2014/main" id="{678E3C09-3971-E762-E888-4774BB750A4A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5364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11">
            <a:extLst>
              <a:ext uri="{FF2B5EF4-FFF2-40B4-BE49-F238E27FC236}">
                <a16:creationId xmlns:a16="http://schemas.microsoft.com/office/drawing/2014/main" id="{FD5D5F0F-3A8C-9DD5-15CE-6B7C3E9DB5BB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2388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Picture Placeholder 11">
            <a:extLst>
              <a:ext uri="{FF2B5EF4-FFF2-40B4-BE49-F238E27FC236}">
                <a16:creationId xmlns:a16="http://schemas.microsoft.com/office/drawing/2014/main" id="{780CB698-AA0E-BBD2-304B-B4C34811DE8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388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Picture Placeholder 11">
            <a:extLst>
              <a:ext uri="{FF2B5EF4-FFF2-40B4-BE49-F238E27FC236}">
                <a16:creationId xmlns:a16="http://schemas.microsoft.com/office/drawing/2014/main" id="{C2BCE056-E4A2-EC44-5C8D-36D0C79AB593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2388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A31338B-0823-6532-C45C-F95060AF7B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692857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B242CF-D933-A588-EC13-90A2D8F2F4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F0B8B1-A5D1-0F04-944C-8EAD379DB4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5CCBA2-D318-BA9C-E2AC-21D6B8676B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B89BCF-3DFE-460B-9292-2C4B790D8C8F}" type="datetimeFigureOut">
              <a:rPr lang="en-US" smtClean="0"/>
              <a:t>5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578293-3B70-4312-A60E-8C7DAEDD0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049411-AC16-9B20-1ED9-09FE75F030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CB528C-6FEB-4591-A1B4-7D93FA8E9A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93562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E5924D82-B442-36B8-3020-4B80CF88B468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310313" y="385763"/>
            <a:ext cx="5462587" cy="5665787"/>
          </a:xfrm>
        </p:spPr>
        <p:txBody>
          <a:bodyPr/>
          <a:lstStyle>
            <a:lvl1pPr>
              <a:defRPr sz="1400" b="0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E06E48C0-76C8-28BD-C1B7-163ED41712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add footnote or delete text box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98B935A-2F64-9B30-B028-533AFFCD81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3846532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able Placeholder 9">
            <a:extLst>
              <a:ext uri="{FF2B5EF4-FFF2-40B4-BE49-F238E27FC236}">
                <a16:creationId xmlns:a16="http://schemas.microsoft.com/office/drawing/2014/main" id="{23A5ABD4-0980-C4E1-2D35-C1A5E7B7C5AF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310313" y="1947863"/>
            <a:ext cx="5462587" cy="4103687"/>
          </a:xfrm>
        </p:spPr>
        <p:txBody>
          <a:bodyPr>
            <a:normAutofit/>
          </a:bodyPr>
          <a:lstStyle>
            <a:lvl1pPr>
              <a:defRPr sz="1400" b="0"/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10D3C37-C70E-A0DC-24F2-9973C328C5EF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13051" y="1573620"/>
            <a:ext cx="4770000" cy="336144"/>
          </a:xfrm>
        </p:spPr>
        <p:txBody>
          <a:bodyPr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CA4EA38-F567-390A-BFCA-BAFFDD3657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add footnote or delete text box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A10CA66-7402-A280-D0B7-C8DFD634EA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7615962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489E1D8-D4B0-C77A-AB21-F17122178A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add footnote or delete text box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373A851-41FB-11CE-7794-1E1CC5D0D8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7781232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C29F56FE-6896-93B5-300C-73E8064C8D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add footnote or delete text box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B95F338-020C-AD1A-58C0-1E2252F80F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8355516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271473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 and black background&#10;&#10;Description automatically generated">
            <a:extLst>
              <a:ext uri="{FF2B5EF4-FFF2-40B4-BE49-F238E27FC236}">
                <a16:creationId xmlns:a16="http://schemas.microsoft.com/office/drawing/2014/main" id="{A0CB5D0A-51F7-B26F-7F31-F6DE564688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0"/>
            <a:ext cx="43434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E686FA-8940-A88B-138F-B4BB47A6D0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590738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and red circle&#10;&#10;Description automatically generated">
            <a:extLst>
              <a:ext uri="{FF2B5EF4-FFF2-40B4-BE49-F238E27FC236}">
                <a16:creationId xmlns:a16="http://schemas.microsoft.com/office/drawing/2014/main" id="{5410D678-9687-A042-D775-92BC6ABD94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2100" y="0"/>
            <a:ext cx="17399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E686FA-8940-A88B-138F-B4BB47A6D0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21403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yellow and orange curved object&#10;&#10;Description automatically generated">
            <a:extLst>
              <a:ext uri="{FF2B5EF4-FFF2-40B4-BE49-F238E27FC236}">
                <a16:creationId xmlns:a16="http://schemas.microsoft.com/office/drawing/2014/main" id="{DC0324F7-D5A3-B683-26D9-09630AC751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8842" y="4776791"/>
            <a:ext cx="3348165" cy="2081210"/>
          </a:xfrm>
          <a:prstGeom prst="rect">
            <a:avLst/>
          </a:prstGeom>
        </p:spPr>
      </p:pic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E425BEBA-A534-F7E4-3ACD-720101319137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428529" y="0"/>
            <a:ext cx="6763471" cy="6858000"/>
          </a:xfrm>
          <a:custGeom>
            <a:avLst/>
            <a:gdLst>
              <a:gd name="connsiteX0" fmla="*/ 377459 w 3359817"/>
              <a:gd name="connsiteY0" fmla="*/ 0 h 3406775"/>
              <a:gd name="connsiteX1" fmla="*/ 3359817 w 3359817"/>
              <a:gd name="connsiteY1" fmla="*/ 0 h 3406775"/>
              <a:gd name="connsiteX2" fmla="*/ 3359817 w 3359817"/>
              <a:gd name="connsiteY2" fmla="*/ 3406775 h 3406775"/>
              <a:gd name="connsiteX3" fmla="*/ 2223681 w 3359817"/>
              <a:gd name="connsiteY3" fmla="*/ 3406775 h 3406775"/>
              <a:gd name="connsiteX4" fmla="*/ 740392 w 3359817"/>
              <a:gd name="connsiteY4" fmla="*/ 2562967 h 3406775"/>
              <a:gd name="connsiteX5" fmla="*/ 46086 w 3359817"/>
              <a:gd name="connsiteY5" fmla="*/ 1939969 h 3406775"/>
              <a:gd name="connsiteX6" fmla="*/ 235442 w 3359817"/>
              <a:gd name="connsiteY6" fmla="*/ 1033073 h 3406775"/>
              <a:gd name="connsiteX7" fmla="*/ 424798 w 3359817"/>
              <a:gd name="connsiteY7" fmla="*/ 126177 h 3406775"/>
              <a:gd name="connsiteX8" fmla="*/ 377459 w 3359817"/>
              <a:gd name="connsiteY8" fmla="*/ 0 h 340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9817" h="3406775">
                <a:moveTo>
                  <a:pt x="377459" y="0"/>
                </a:moveTo>
                <a:lnTo>
                  <a:pt x="3359817" y="0"/>
                </a:lnTo>
                <a:cubicBezTo>
                  <a:pt x="3359817" y="3406775"/>
                  <a:pt x="3359817" y="3406775"/>
                  <a:pt x="3359817" y="3406775"/>
                </a:cubicBezTo>
                <a:cubicBezTo>
                  <a:pt x="2223681" y="3406775"/>
                  <a:pt x="2223681" y="3406775"/>
                  <a:pt x="2223681" y="3406775"/>
                </a:cubicBezTo>
                <a:cubicBezTo>
                  <a:pt x="1837079" y="2980928"/>
                  <a:pt x="1324239" y="2681258"/>
                  <a:pt x="740392" y="2562967"/>
                </a:cubicBezTo>
                <a:cubicBezTo>
                  <a:pt x="416908" y="2491993"/>
                  <a:pt x="148654" y="2255411"/>
                  <a:pt x="46086" y="1939969"/>
                </a:cubicBezTo>
                <a:cubicBezTo>
                  <a:pt x="-56482" y="1624527"/>
                  <a:pt x="14527" y="1277541"/>
                  <a:pt x="235442" y="1033073"/>
                </a:cubicBezTo>
                <a:cubicBezTo>
                  <a:pt x="456358" y="788605"/>
                  <a:pt x="535256" y="441619"/>
                  <a:pt x="424798" y="126177"/>
                </a:cubicBezTo>
                <a:cubicBezTo>
                  <a:pt x="416908" y="78861"/>
                  <a:pt x="393239" y="39430"/>
                  <a:pt x="377459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E686FA-8940-A88B-138F-B4BB47A6D0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71253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828800"/>
            <a:ext cx="5361517" cy="4145280"/>
          </a:xfrm>
        </p:spPr>
        <p:txBody>
          <a:bodyPr>
            <a:normAutofit/>
          </a:bodyPr>
          <a:lstStyle>
            <a:lvl1pPr marL="304792" indent="-304792">
              <a:buSzPct val="100000"/>
              <a:buFont typeface="Wingdings" charset="2"/>
              <a:buChar char="§"/>
              <a:defRPr sz="2400" baseline="0"/>
            </a:lvl1pPr>
            <a:lvl2pPr>
              <a:defRPr sz="2133" baseline="0"/>
            </a:lvl2pPr>
            <a:lvl3pPr>
              <a:defRPr sz="2133" baseline="0"/>
            </a:lvl3pPr>
            <a:lvl4pPr>
              <a:defRPr sz="2133" baseline="0"/>
            </a:lvl4pPr>
            <a:lvl5pPr>
              <a:defRPr sz="2133" baseline="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28800"/>
            <a:ext cx="5364480" cy="4145280"/>
          </a:xfrm>
        </p:spPr>
        <p:txBody>
          <a:bodyPr>
            <a:normAutofit/>
          </a:bodyPr>
          <a:lstStyle>
            <a:lvl1pPr marL="304792" indent="-304792">
              <a:buSzPct val="100000"/>
              <a:buFont typeface="Wingdings" charset="2"/>
              <a:buChar char="§"/>
              <a:defRPr sz="2400" baseline="0"/>
            </a:lvl1pPr>
            <a:lvl2pPr>
              <a:defRPr sz="2133" baseline="0"/>
            </a:lvl2pPr>
            <a:lvl3pPr>
              <a:defRPr sz="2133" baseline="0"/>
            </a:lvl3pPr>
            <a:lvl4pPr>
              <a:defRPr sz="2133" baseline="0"/>
            </a:lvl4pPr>
            <a:lvl5pPr>
              <a:defRPr sz="2133" baseline="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nsert menu &gt; Header &amp; Footer butt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128016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3686207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nsert menu &gt; Header &amp; Footer butt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1011365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FFE0BE-FFCB-F162-CDAD-743131AA2C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2D8EBA-6950-8B31-63C0-97A589AD8F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4826A9-E5A8-B9BF-105B-2CF7EE0B6F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B89BCF-3DFE-460B-9292-2C4B790D8C8F}" type="datetimeFigureOut">
              <a:rPr lang="en-US" smtClean="0"/>
              <a:t>5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188054-8E00-BBAD-3184-A343DFE98D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106E56-429A-94B6-E28B-EC8DA4155F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CB528C-6FEB-4591-A1B4-7D93FA8E9A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09737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07055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88D4E4-3700-4346-940E-C31D326C13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C9B3E9-67D7-5541-A6CF-6FB6E4F698E2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B1DCA4F-32B1-4F4F-BA3F-33146BD952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7649" y="115200"/>
            <a:ext cx="8578851" cy="709200"/>
          </a:xfrm>
        </p:spPr>
        <p:txBody>
          <a:bodyPr/>
          <a:lstStyle>
            <a:lvl1pPr marL="0" indent="0">
              <a:lnSpc>
                <a:spcPct val="82000"/>
              </a:lnSpc>
              <a:spcAft>
                <a:spcPts val="0"/>
              </a:spcAft>
              <a:buFontTx/>
              <a:buNone/>
              <a:defRPr sz="2600" b="1"/>
            </a:lvl1pPr>
            <a:lvl2pPr marL="0" indent="0">
              <a:lnSpc>
                <a:spcPct val="82000"/>
              </a:lnSpc>
              <a:buFontTx/>
              <a:buNone/>
              <a:defRPr sz="2600"/>
            </a:lvl2pPr>
          </a:lstStyle>
          <a:p>
            <a:pPr lvl="0"/>
            <a:r>
              <a:rPr lang="en-US"/>
              <a:t>[Title only]</a:t>
            </a:r>
          </a:p>
          <a:p>
            <a:pPr lvl="1"/>
            <a:r>
              <a:rPr lang="en-US"/>
              <a:t>Second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61305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82">
          <p15:clr>
            <a:srgbClr val="FBAE40"/>
          </p15:clr>
        </p15:guide>
        <p15:guide id="2" pos="3760">
          <p15:clr>
            <a:srgbClr val="FBAE40"/>
          </p15:clr>
        </p15:guide>
        <p15:guide id="3" orient="horz" pos="3986">
          <p15:clr>
            <a:srgbClr val="FBAE40"/>
          </p15:clr>
        </p15:guide>
        <p15:guide id="4" pos="322">
          <p15:clr>
            <a:srgbClr val="FBAE40"/>
          </p15:clr>
        </p15:guide>
        <p15:guide id="5" pos="1966">
          <p15:clr>
            <a:srgbClr val="FBAE40"/>
          </p15:clr>
        </p15:guide>
        <p15:guide id="6" pos="2120">
          <p15:clr>
            <a:srgbClr val="FBAE40"/>
          </p15:clr>
        </p15:guide>
        <p15:guide id="7" pos="3920">
          <p15:clr>
            <a:srgbClr val="FBAE40"/>
          </p15:clr>
        </p15:guide>
        <p15:guide id="8" pos="5560">
          <p15:clr>
            <a:srgbClr val="FBAE40"/>
          </p15:clr>
        </p15:guide>
        <p15:guide id="9" pos="7358">
          <p15:clr>
            <a:srgbClr val="FBAE40"/>
          </p15:clr>
        </p15:guide>
        <p15:guide id="10" pos="5718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blots on a white background&#10;&#10;Description automatically generated">
            <a:extLst>
              <a:ext uri="{FF2B5EF4-FFF2-40B4-BE49-F238E27FC236}">
                <a16:creationId xmlns:a16="http://schemas.microsoft.com/office/drawing/2014/main" id="{38AE2E2E-B5FC-5672-3429-3E8A6AB109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84" t="2925" r="9124" b="489"/>
          <a:stretch/>
        </p:blipFill>
        <p:spPr>
          <a:xfrm>
            <a:off x="4734046" y="-1"/>
            <a:ext cx="7457955" cy="6858001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menu &gt; Header &amp; Footer button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3562350" cy="228028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/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EDF5900-301D-289B-13AA-44A39C31E15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94103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128016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Insert menu &gt; Header &amp; Footer butt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/>
          </a:p>
        </p:txBody>
      </p:sp>
      <p:sp>
        <p:nvSpPr>
          <p:cNvPr id="14" name="Content Placeholder 2"/>
          <p:cNvSpPr>
            <a:spLocks noGrp="1"/>
          </p:cNvSpPr>
          <p:nvPr>
            <p:ph sz="half" idx="18"/>
          </p:nvPr>
        </p:nvSpPr>
        <p:spPr>
          <a:xfrm>
            <a:off x="609600" y="2381957"/>
            <a:ext cx="5364480" cy="3043484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333" b="0" i="0" spc="4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600"/>
            </a:lvl2pPr>
            <a:lvl3pPr marL="0" indent="0" algn="ctr">
              <a:spcBef>
                <a:spcPts val="0"/>
              </a:spcBef>
              <a:buNone/>
              <a:defRPr sz="1600"/>
            </a:lvl3pPr>
            <a:lvl4pPr marL="0" indent="0" algn="ctr">
              <a:spcBef>
                <a:spcPts val="0"/>
              </a:spcBef>
              <a:buNone/>
              <a:defRPr sz="1600"/>
            </a:lvl4pPr>
            <a:lvl5pPr marL="0" indent="0" algn="ctr">
              <a:spcBef>
                <a:spcPts val="0"/>
              </a:spcBef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19"/>
          </p:nvPr>
        </p:nvSpPr>
        <p:spPr>
          <a:xfrm>
            <a:off x="6217920" y="2381957"/>
            <a:ext cx="5364480" cy="3043484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333" b="0" i="0" spc="4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600"/>
            </a:lvl2pPr>
            <a:lvl3pPr marL="0" indent="0" algn="ctr">
              <a:spcBef>
                <a:spcPts val="0"/>
              </a:spcBef>
              <a:buNone/>
              <a:defRPr sz="1600"/>
            </a:lvl3pPr>
            <a:lvl4pPr marL="0" indent="0" algn="ctr">
              <a:spcBef>
                <a:spcPts val="0"/>
              </a:spcBef>
              <a:buNone/>
              <a:defRPr sz="1600"/>
            </a:lvl4pPr>
            <a:lvl5pPr marL="0" indent="0" algn="ctr">
              <a:spcBef>
                <a:spcPts val="0"/>
              </a:spcBef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828800"/>
            <a:ext cx="10972800" cy="481927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24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Optional picture title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609600" y="5547360"/>
            <a:ext cx="5364480" cy="42672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333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Optional picture caption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17920" y="5547360"/>
            <a:ext cx="5364480" cy="42672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333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Optional picture caption</a:t>
            </a:r>
          </a:p>
        </p:txBody>
      </p:sp>
    </p:spTree>
    <p:extLst>
      <p:ext uri="{BB962C8B-B14F-4D97-AF65-F5344CB8AC3E}">
        <p14:creationId xmlns:p14="http://schemas.microsoft.com/office/powerpoint/2010/main" val="24595210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FF6A30E8-B7D4-ED0A-B735-3EFA819596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8795658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(Full Colour)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Picture Placeholder 1035">
            <a:extLst>
              <a:ext uri="{FF2B5EF4-FFF2-40B4-BE49-F238E27FC236}">
                <a16:creationId xmlns:a16="http://schemas.microsoft.com/office/drawing/2014/main" id="{7AA4D6D0-4766-1D05-8A41-65097B5A11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1563350" cy="6858000"/>
          </a:xfrm>
          <a:custGeom>
            <a:avLst/>
            <a:gdLst>
              <a:gd name="connsiteX0" fmla="*/ 0 w 2751427"/>
              <a:gd name="connsiteY0" fmla="*/ 0 h 1638300"/>
              <a:gd name="connsiteX1" fmla="*/ 582307 w 2751427"/>
              <a:gd name="connsiteY1" fmla="*/ 0 h 1638300"/>
              <a:gd name="connsiteX2" fmla="*/ 1160833 w 2751427"/>
              <a:gd name="connsiteY2" fmla="*/ 0 h 1638300"/>
              <a:gd name="connsiteX3" fmla="*/ 1743141 w 2751427"/>
              <a:gd name="connsiteY3" fmla="*/ 0 h 1638300"/>
              <a:gd name="connsiteX4" fmla="*/ 2321667 w 2751427"/>
              <a:gd name="connsiteY4" fmla="*/ 0 h 1638300"/>
              <a:gd name="connsiteX5" fmla="*/ 2495602 w 2751427"/>
              <a:gd name="connsiteY5" fmla="*/ 0 h 1638300"/>
              <a:gd name="connsiteX6" fmla="*/ 2355697 w 2751427"/>
              <a:gd name="connsiteY6" fmla="*/ 333728 h 1638300"/>
              <a:gd name="connsiteX7" fmla="*/ 2355697 w 2751427"/>
              <a:gd name="connsiteY7" fmla="*/ 656079 h 1638300"/>
              <a:gd name="connsiteX8" fmla="*/ 2495602 w 2751427"/>
              <a:gd name="connsiteY8" fmla="*/ 982222 h 1638300"/>
              <a:gd name="connsiteX9" fmla="*/ 2650632 w 2751427"/>
              <a:gd name="connsiteY9" fmla="*/ 1152878 h 1638300"/>
              <a:gd name="connsiteX10" fmla="*/ 2745163 w 2751427"/>
              <a:gd name="connsiteY10" fmla="*/ 1312157 h 1638300"/>
              <a:gd name="connsiteX11" fmla="*/ 2748944 w 2751427"/>
              <a:gd name="connsiteY11" fmla="*/ 1422136 h 1638300"/>
              <a:gd name="connsiteX12" fmla="*/ 2571227 w 2751427"/>
              <a:gd name="connsiteY12" fmla="*/ 1638300 h 1638300"/>
              <a:gd name="connsiteX13" fmla="*/ 2321667 w 2751427"/>
              <a:gd name="connsiteY13" fmla="*/ 1638300 h 1638300"/>
              <a:gd name="connsiteX14" fmla="*/ 1743141 w 2751427"/>
              <a:gd name="connsiteY14" fmla="*/ 1638300 h 1638300"/>
              <a:gd name="connsiteX15" fmla="*/ 1160833 w 2751427"/>
              <a:gd name="connsiteY15" fmla="*/ 1638300 h 1638300"/>
              <a:gd name="connsiteX16" fmla="*/ 582307 w 2751427"/>
              <a:gd name="connsiteY16" fmla="*/ 1638300 h 1638300"/>
              <a:gd name="connsiteX17" fmla="*/ 0 w 2751427"/>
              <a:gd name="connsiteY17" fmla="*/ 1638300 h 1638300"/>
              <a:gd name="connsiteX18" fmla="*/ 0 w 2751427"/>
              <a:gd name="connsiteY18" fmla="*/ 1312157 h 1638300"/>
              <a:gd name="connsiteX19" fmla="*/ 0 w 2751427"/>
              <a:gd name="connsiteY19" fmla="*/ 982222 h 1638300"/>
              <a:gd name="connsiteX20" fmla="*/ 0 w 2751427"/>
              <a:gd name="connsiteY20" fmla="*/ 656079 h 1638300"/>
              <a:gd name="connsiteX21" fmla="*/ 0 w 2751427"/>
              <a:gd name="connsiteY21" fmla="*/ 326143 h 1638300"/>
              <a:gd name="connsiteX22" fmla="*/ 0 w 2751427"/>
              <a:gd name="connsiteY22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751427" h="1638300">
                <a:moveTo>
                  <a:pt x="0" y="0"/>
                </a:moveTo>
                <a:cubicBezTo>
                  <a:pt x="0" y="0"/>
                  <a:pt x="0" y="0"/>
                  <a:pt x="582307" y="0"/>
                </a:cubicBezTo>
                <a:cubicBezTo>
                  <a:pt x="582307" y="0"/>
                  <a:pt x="582307" y="0"/>
                  <a:pt x="1160833" y="0"/>
                </a:cubicBezTo>
                <a:cubicBezTo>
                  <a:pt x="1160833" y="0"/>
                  <a:pt x="1160833" y="0"/>
                  <a:pt x="1743141" y="0"/>
                </a:cubicBezTo>
                <a:cubicBezTo>
                  <a:pt x="1743141" y="0"/>
                  <a:pt x="1743141" y="0"/>
                  <a:pt x="2321667" y="0"/>
                </a:cubicBezTo>
                <a:cubicBezTo>
                  <a:pt x="2321667" y="0"/>
                  <a:pt x="2321667" y="0"/>
                  <a:pt x="2495602" y="0"/>
                </a:cubicBezTo>
                <a:cubicBezTo>
                  <a:pt x="2427541" y="98602"/>
                  <a:pt x="2378385" y="216165"/>
                  <a:pt x="2355697" y="333728"/>
                </a:cubicBezTo>
                <a:cubicBezTo>
                  <a:pt x="2336791" y="439914"/>
                  <a:pt x="2336791" y="553685"/>
                  <a:pt x="2355697" y="656079"/>
                </a:cubicBezTo>
                <a:cubicBezTo>
                  <a:pt x="2378385" y="773642"/>
                  <a:pt x="2427541" y="883620"/>
                  <a:pt x="2495602" y="982222"/>
                </a:cubicBezTo>
                <a:cubicBezTo>
                  <a:pt x="2537196" y="1046692"/>
                  <a:pt x="2590133" y="1103577"/>
                  <a:pt x="2650632" y="1152878"/>
                </a:cubicBezTo>
                <a:cubicBezTo>
                  <a:pt x="2699788" y="1194594"/>
                  <a:pt x="2730038" y="1247687"/>
                  <a:pt x="2745163" y="1312157"/>
                </a:cubicBezTo>
                <a:cubicBezTo>
                  <a:pt x="2752725" y="1346288"/>
                  <a:pt x="2752725" y="1384212"/>
                  <a:pt x="2748944" y="1422136"/>
                </a:cubicBezTo>
                <a:cubicBezTo>
                  <a:pt x="2730038" y="1520737"/>
                  <a:pt x="2665757" y="1600377"/>
                  <a:pt x="2571227" y="1638300"/>
                </a:cubicBezTo>
                <a:cubicBezTo>
                  <a:pt x="2571227" y="1638300"/>
                  <a:pt x="2571227" y="1638300"/>
                  <a:pt x="2321667" y="1638300"/>
                </a:cubicBezTo>
                <a:cubicBezTo>
                  <a:pt x="2321667" y="1638300"/>
                  <a:pt x="2321667" y="1638300"/>
                  <a:pt x="1743141" y="1638300"/>
                </a:cubicBezTo>
                <a:cubicBezTo>
                  <a:pt x="1743141" y="1638300"/>
                  <a:pt x="1743141" y="1638300"/>
                  <a:pt x="1160833" y="1638300"/>
                </a:cubicBezTo>
                <a:cubicBezTo>
                  <a:pt x="1160833" y="1638300"/>
                  <a:pt x="1160833" y="1638300"/>
                  <a:pt x="582307" y="1638300"/>
                </a:cubicBezTo>
                <a:cubicBezTo>
                  <a:pt x="582307" y="1638300"/>
                  <a:pt x="582307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8" name="Picture 7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FF6A30E8-B7D4-ED0A-B735-3EFA819596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menu &gt; </a:t>
            </a:r>
            <a:r>
              <a:rPr lang="en-US" noProof="0"/>
              <a:t>Header</a:t>
            </a:r>
            <a:r>
              <a:rPr lang="en-US"/>
              <a:t>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5017535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(Full Colour) Dark Image">
    <p:bg>
      <p:bgPr>
        <a:solidFill>
          <a:srgbClr val="A7A8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051E80E-90E2-38D4-1EC7-9B268E7FFE5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1563350" cy="6858000"/>
          </a:xfrm>
          <a:custGeom>
            <a:avLst/>
            <a:gdLst>
              <a:gd name="connsiteX0" fmla="*/ 0 w 2751427"/>
              <a:gd name="connsiteY0" fmla="*/ 0 h 1638300"/>
              <a:gd name="connsiteX1" fmla="*/ 582307 w 2751427"/>
              <a:gd name="connsiteY1" fmla="*/ 0 h 1638300"/>
              <a:gd name="connsiteX2" fmla="*/ 1160833 w 2751427"/>
              <a:gd name="connsiteY2" fmla="*/ 0 h 1638300"/>
              <a:gd name="connsiteX3" fmla="*/ 1743141 w 2751427"/>
              <a:gd name="connsiteY3" fmla="*/ 0 h 1638300"/>
              <a:gd name="connsiteX4" fmla="*/ 2321667 w 2751427"/>
              <a:gd name="connsiteY4" fmla="*/ 0 h 1638300"/>
              <a:gd name="connsiteX5" fmla="*/ 2495602 w 2751427"/>
              <a:gd name="connsiteY5" fmla="*/ 0 h 1638300"/>
              <a:gd name="connsiteX6" fmla="*/ 2355697 w 2751427"/>
              <a:gd name="connsiteY6" fmla="*/ 333728 h 1638300"/>
              <a:gd name="connsiteX7" fmla="*/ 2355697 w 2751427"/>
              <a:gd name="connsiteY7" fmla="*/ 656079 h 1638300"/>
              <a:gd name="connsiteX8" fmla="*/ 2495602 w 2751427"/>
              <a:gd name="connsiteY8" fmla="*/ 982222 h 1638300"/>
              <a:gd name="connsiteX9" fmla="*/ 2650632 w 2751427"/>
              <a:gd name="connsiteY9" fmla="*/ 1152878 h 1638300"/>
              <a:gd name="connsiteX10" fmla="*/ 2745163 w 2751427"/>
              <a:gd name="connsiteY10" fmla="*/ 1312157 h 1638300"/>
              <a:gd name="connsiteX11" fmla="*/ 2748944 w 2751427"/>
              <a:gd name="connsiteY11" fmla="*/ 1422136 h 1638300"/>
              <a:gd name="connsiteX12" fmla="*/ 2571227 w 2751427"/>
              <a:gd name="connsiteY12" fmla="*/ 1638300 h 1638300"/>
              <a:gd name="connsiteX13" fmla="*/ 2321667 w 2751427"/>
              <a:gd name="connsiteY13" fmla="*/ 1638300 h 1638300"/>
              <a:gd name="connsiteX14" fmla="*/ 1743141 w 2751427"/>
              <a:gd name="connsiteY14" fmla="*/ 1638300 h 1638300"/>
              <a:gd name="connsiteX15" fmla="*/ 1160833 w 2751427"/>
              <a:gd name="connsiteY15" fmla="*/ 1638300 h 1638300"/>
              <a:gd name="connsiteX16" fmla="*/ 582307 w 2751427"/>
              <a:gd name="connsiteY16" fmla="*/ 1638300 h 1638300"/>
              <a:gd name="connsiteX17" fmla="*/ 0 w 2751427"/>
              <a:gd name="connsiteY17" fmla="*/ 1638300 h 1638300"/>
              <a:gd name="connsiteX18" fmla="*/ 0 w 2751427"/>
              <a:gd name="connsiteY18" fmla="*/ 1312157 h 1638300"/>
              <a:gd name="connsiteX19" fmla="*/ 0 w 2751427"/>
              <a:gd name="connsiteY19" fmla="*/ 982222 h 1638300"/>
              <a:gd name="connsiteX20" fmla="*/ 0 w 2751427"/>
              <a:gd name="connsiteY20" fmla="*/ 656079 h 1638300"/>
              <a:gd name="connsiteX21" fmla="*/ 0 w 2751427"/>
              <a:gd name="connsiteY21" fmla="*/ 326143 h 1638300"/>
              <a:gd name="connsiteX22" fmla="*/ 0 w 2751427"/>
              <a:gd name="connsiteY22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751427" h="1638300">
                <a:moveTo>
                  <a:pt x="0" y="0"/>
                </a:moveTo>
                <a:cubicBezTo>
                  <a:pt x="0" y="0"/>
                  <a:pt x="0" y="0"/>
                  <a:pt x="582307" y="0"/>
                </a:cubicBezTo>
                <a:cubicBezTo>
                  <a:pt x="582307" y="0"/>
                  <a:pt x="582307" y="0"/>
                  <a:pt x="1160833" y="0"/>
                </a:cubicBezTo>
                <a:cubicBezTo>
                  <a:pt x="1160833" y="0"/>
                  <a:pt x="1160833" y="0"/>
                  <a:pt x="1743141" y="0"/>
                </a:cubicBezTo>
                <a:cubicBezTo>
                  <a:pt x="1743141" y="0"/>
                  <a:pt x="1743141" y="0"/>
                  <a:pt x="2321667" y="0"/>
                </a:cubicBezTo>
                <a:cubicBezTo>
                  <a:pt x="2321667" y="0"/>
                  <a:pt x="2321667" y="0"/>
                  <a:pt x="2495602" y="0"/>
                </a:cubicBezTo>
                <a:cubicBezTo>
                  <a:pt x="2427541" y="98602"/>
                  <a:pt x="2378385" y="216165"/>
                  <a:pt x="2355697" y="333728"/>
                </a:cubicBezTo>
                <a:cubicBezTo>
                  <a:pt x="2336791" y="439914"/>
                  <a:pt x="2336791" y="553685"/>
                  <a:pt x="2355697" y="656079"/>
                </a:cubicBezTo>
                <a:cubicBezTo>
                  <a:pt x="2378385" y="773642"/>
                  <a:pt x="2427541" y="883620"/>
                  <a:pt x="2495602" y="982222"/>
                </a:cubicBezTo>
                <a:cubicBezTo>
                  <a:pt x="2537196" y="1046692"/>
                  <a:pt x="2590133" y="1103577"/>
                  <a:pt x="2650632" y="1152878"/>
                </a:cubicBezTo>
                <a:cubicBezTo>
                  <a:pt x="2699788" y="1194594"/>
                  <a:pt x="2730038" y="1247687"/>
                  <a:pt x="2745163" y="1312157"/>
                </a:cubicBezTo>
                <a:cubicBezTo>
                  <a:pt x="2752725" y="1346288"/>
                  <a:pt x="2752725" y="1384212"/>
                  <a:pt x="2748944" y="1422136"/>
                </a:cubicBezTo>
                <a:cubicBezTo>
                  <a:pt x="2730038" y="1520737"/>
                  <a:pt x="2665757" y="1600377"/>
                  <a:pt x="2571227" y="1638300"/>
                </a:cubicBezTo>
                <a:cubicBezTo>
                  <a:pt x="2571227" y="1638300"/>
                  <a:pt x="2571227" y="1638300"/>
                  <a:pt x="2321667" y="1638300"/>
                </a:cubicBezTo>
                <a:cubicBezTo>
                  <a:pt x="2321667" y="1638300"/>
                  <a:pt x="2321667" y="1638300"/>
                  <a:pt x="1743141" y="1638300"/>
                </a:cubicBezTo>
                <a:cubicBezTo>
                  <a:pt x="1743141" y="1638300"/>
                  <a:pt x="1743141" y="1638300"/>
                  <a:pt x="1160833" y="1638300"/>
                </a:cubicBezTo>
                <a:cubicBezTo>
                  <a:pt x="1160833" y="1638300"/>
                  <a:pt x="1160833" y="1638300"/>
                  <a:pt x="582307" y="1638300"/>
                </a:cubicBezTo>
                <a:cubicBezTo>
                  <a:pt x="582307" y="1638300"/>
                  <a:pt x="582307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8" name="Picture 7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FF6A30E8-B7D4-ED0A-B735-3EFA819596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8BF5FAE-D19B-68EB-DD60-A7A23884BA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1200" y="5644800"/>
            <a:ext cx="5004000" cy="9342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242517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ue and pink circle with black background&#10;&#10;Description automatically generated">
            <a:extLst>
              <a:ext uri="{FF2B5EF4-FFF2-40B4-BE49-F238E27FC236}">
                <a16:creationId xmlns:a16="http://schemas.microsoft.com/office/drawing/2014/main" id="{5C3534BA-B612-8BE4-57E8-98FF2A63A7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4001" y="0"/>
            <a:ext cx="43179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6321914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(Full Colour)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5BEA9E99-0C18-0E13-D81E-E2F2149CBA47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2901950"/>
              <a:gd name="connsiteY0" fmla="*/ 0 h 1638300"/>
              <a:gd name="connsiteX1" fmla="*/ 581902 w 2901950"/>
              <a:gd name="connsiteY1" fmla="*/ 0 h 1638300"/>
              <a:gd name="connsiteX2" fmla="*/ 1160024 w 2901950"/>
              <a:gd name="connsiteY2" fmla="*/ 0 h 1638300"/>
              <a:gd name="connsiteX3" fmla="*/ 1741926 w 2901950"/>
              <a:gd name="connsiteY3" fmla="*/ 0 h 1638300"/>
              <a:gd name="connsiteX4" fmla="*/ 2320049 w 2901950"/>
              <a:gd name="connsiteY4" fmla="*/ 0 h 1638300"/>
              <a:gd name="connsiteX5" fmla="*/ 2901950 w 2901950"/>
              <a:gd name="connsiteY5" fmla="*/ 0 h 1638300"/>
              <a:gd name="connsiteX6" fmla="*/ 2901950 w 2901950"/>
              <a:gd name="connsiteY6" fmla="*/ 326143 h 1638300"/>
              <a:gd name="connsiteX7" fmla="*/ 2901950 w 2901950"/>
              <a:gd name="connsiteY7" fmla="*/ 356482 h 1638300"/>
              <a:gd name="connsiteX8" fmla="*/ 2467413 w 2901950"/>
              <a:gd name="connsiteY8" fmla="*/ 656079 h 1638300"/>
              <a:gd name="connsiteX9" fmla="*/ 2463635 w 2901950"/>
              <a:gd name="connsiteY9" fmla="*/ 663663 h 1638300"/>
              <a:gd name="connsiteX10" fmla="*/ 2350277 w 2901950"/>
              <a:gd name="connsiteY10" fmla="*/ 982222 h 1638300"/>
              <a:gd name="connsiteX11" fmla="*/ 2350277 w 2901950"/>
              <a:gd name="connsiteY11" fmla="*/ 1312157 h 1638300"/>
              <a:gd name="connsiteX12" fmla="*/ 2350277 w 2901950"/>
              <a:gd name="connsiteY12" fmla="*/ 1315949 h 1638300"/>
              <a:gd name="connsiteX13" fmla="*/ 2320049 w 2901950"/>
              <a:gd name="connsiteY13" fmla="*/ 1331119 h 1638300"/>
              <a:gd name="connsiteX14" fmla="*/ 2029098 w 2901950"/>
              <a:gd name="connsiteY14" fmla="*/ 1501775 h 1638300"/>
              <a:gd name="connsiteX15" fmla="*/ 1915741 w 2901950"/>
              <a:gd name="connsiteY15" fmla="*/ 1615546 h 1638300"/>
              <a:gd name="connsiteX16" fmla="*/ 1904405 w 2901950"/>
              <a:gd name="connsiteY16" fmla="*/ 1638300 h 1638300"/>
              <a:gd name="connsiteX17" fmla="*/ 1741926 w 2901950"/>
              <a:gd name="connsiteY17" fmla="*/ 1638300 h 1638300"/>
              <a:gd name="connsiteX18" fmla="*/ 1160024 w 2901950"/>
              <a:gd name="connsiteY18" fmla="*/ 1638300 h 1638300"/>
              <a:gd name="connsiteX19" fmla="*/ 581902 w 2901950"/>
              <a:gd name="connsiteY19" fmla="*/ 1638300 h 1638300"/>
              <a:gd name="connsiteX20" fmla="*/ 0 w 2901950"/>
              <a:gd name="connsiteY20" fmla="*/ 1638300 h 1638300"/>
              <a:gd name="connsiteX21" fmla="*/ 0 w 2901950"/>
              <a:gd name="connsiteY21" fmla="*/ 1312157 h 1638300"/>
              <a:gd name="connsiteX22" fmla="*/ 0 w 2901950"/>
              <a:gd name="connsiteY22" fmla="*/ 982222 h 1638300"/>
              <a:gd name="connsiteX23" fmla="*/ 0 w 2901950"/>
              <a:gd name="connsiteY23" fmla="*/ 656079 h 1638300"/>
              <a:gd name="connsiteX24" fmla="*/ 0 w 2901950"/>
              <a:gd name="connsiteY24" fmla="*/ 326143 h 1638300"/>
              <a:gd name="connsiteX25" fmla="*/ 0 w 2901950"/>
              <a:gd name="connsiteY25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901950" h="1638300">
                <a:moveTo>
                  <a:pt x="0" y="0"/>
                </a:moveTo>
                <a:cubicBezTo>
                  <a:pt x="0" y="0"/>
                  <a:pt x="0" y="0"/>
                  <a:pt x="581902" y="0"/>
                </a:cubicBezTo>
                <a:cubicBezTo>
                  <a:pt x="581902" y="0"/>
                  <a:pt x="581902" y="0"/>
                  <a:pt x="1160024" y="0"/>
                </a:cubicBezTo>
                <a:cubicBezTo>
                  <a:pt x="1160024" y="0"/>
                  <a:pt x="1160024" y="0"/>
                  <a:pt x="1741926" y="0"/>
                </a:cubicBezTo>
                <a:cubicBezTo>
                  <a:pt x="1741926" y="0"/>
                  <a:pt x="1741926" y="0"/>
                  <a:pt x="2320049" y="0"/>
                </a:cubicBezTo>
                <a:lnTo>
                  <a:pt x="2901950" y="0"/>
                </a:lnTo>
                <a:cubicBezTo>
                  <a:pt x="2901950" y="0"/>
                  <a:pt x="2901950" y="0"/>
                  <a:pt x="2901950" y="326143"/>
                </a:cubicBezTo>
                <a:cubicBezTo>
                  <a:pt x="2901950" y="326143"/>
                  <a:pt x="2901950" y="326143"/>
                  <a:pt x="2901950" y="356482"/>
                </a:cubicBezTo>
                <a:cubicBezTo>
                  <a:pt x="2720578" y="386821"/>
                  <a:pt x="2561878" y="496799"/>
                  <a:pt x="2467413" y="656079"/>
                </a:cubicBezTo>
                <a:cubicBezTo>
                  <a:pt x="2467413" y="659871"/>
                  <a:pt x="2463635" y="659871"/>
                  <a:pt x="2463635" y="663663"/>
                </a:cubicBezTo>
                <a:cubicBezTo>
                  <a:pt x="2406956" y="762265"/>
                  <a:pt x="2365392" y="872243"/>
                  <a:pt x="2350277" y="982222"/>
                </a:cubicBezTo>
                <a:cubicBezTo>
                  <a:pt x="2331384" y="1092200"/>
                  <a:pt x="2331384" y="1202179"/>
                  <a:pt x="2350277" y="1312157"/>
                </a:cubicBezTo>
                <a:cubicBezTo>
                  <a:pt x="2350277" y="1312157"/>
                  <a:pt x="2350277" y="1312157"/>
                  <a:pt x="2350277" y="1315949"/>
                </a:cubicBezTo>
                <a:cubicBezTo>
                  <a:pt x="2350277" y="1315949"/>
                  <a:pt x="2350277" y="1315949"/>
                  <a:pt x="2320049" y="1331119"/>
                </a:cubicBezTo>
                <a:cubicBezTo>
                  <a:pt x="2320049" y="1331119"/>
                  <a:pt x="2320049" y="1331119"/>
                  <a:pt x="2029098" y="1501775"/>
                </a:cubicBezTo>
                <a:cubicBezTo>
                  <a:pt x="1983755" y="1528322"/>
                  <a:pt x="1942191" y="1566245"/>
                  <a:pt x="1915741" y="1615546"/>
                </a:cubicBezTo>
                <a:cubicBezTo>
                  <a:pt x="1911962" y="1623131"/>
                  <a:pt x="1908183" y="1630715"/>
                  <a:pt x="1904405" y="1638300"/>
                </a:cubicBezTo>
                <a:cubicBezTo>
                  <a:pt x="1904405" y="1638300"/>
                  <a:pt x="1904405" y="1638300"/>
                  <a:pt x="1741926" y="1638300"/>
                </a:cubicBezTo>
                <a:cubicBezTo>
                  <a:pt x="1741926" y="1638300"/>
                  <a:pt x="1741926" y="1638300"/>
                  <a:pt x="1160024" y="1638300"/>
                </a:cubicBezTo>
                <a:cubicBezTo>
                  <a:pt x="1160024" y="1638300"/>
                  <a:pt x="1160024" y="1638300"/>
                  <a:pt x="581902" y="1638300"/>
                </a:cubicBezTo>
                <a:cubicBezTo>
                  <a:pt x="581902" y="1638300"/>
                  <a:pt x="581902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  <a:noFill/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7" name="Picture 6" descr="A blue and pink circle with black background&#10;&#10;Description automatically generated">
            <a:extLst>
              <a:ext uri="{FF2B5EF4-FFF2-40B4-BE49-F238E27FC236}">
                <a16:creationId xmlns:a16="http://schemas.microsoft.com/office/drawing/2014/main" id="{EE80A020-17A0-9A32-B7DF-F8F78FB38B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4001" y="0"/>
            <a:ext cx="43179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016796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7" y="1376363"/>
            <a:ext cx="4857995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7020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05C31BD-5A4F-89BA-3E8D-7678595A9D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65509" y="184019"/>
            <a:ext cx="6526491" cy="6670835"/>
          </a:xfrm>
          <a:custGeom>
            <a:avLst/>
            <a:gdLst>
              <a:gd name="connsiteX0" fmla="*/ 2627552 w 4665662"/>
              <a:gd name="connsiteY0" fmla="*/ 0 h 4768850"/>
              <a:gd name="connsiteX1" fmla="*/ 4665662 w 4665662"/>
              <a:gd name="connsiteY1" fmla="*/ 970551 h 4768850"/>
              <a:gd name="connsiteX2" fmla="*/ 4665662 w 4665662"/>
              <a:gd name="connsiteY2" fmla="*/ 2455856 h 4768850"/>
              <a:gd name="connsiteX3" fmla="*/ 4582913 w 4665662"/>
              <a:gd name="connsiteY3" fmla="*/ 2510279 h 4768850"/>
              <a:gd name="connsiteX4" fmla="*/ 4219046 w 4665662"/>
              <a:gd name="connsiteY4" fmla="*/ 2624795 h 4768850"/>
              <a:gd name="connsiteX5" fmla="*/ 4144232 w 4665662"/>
              <a:gd name="connsiteY5" fmla="*/ 2628197 h 4768850"/>
              <a:gd name="connsiteX6" fmla="*/ 3351886 w 4665662"/>
              <a:gd name="connsiteY6" fmla="*/ 3130479 h 4768850"/>
              <a:gd name="connsiteX7" fmla="*/ 3269137 w 4665662"/>
              <a:gd name="connsiteY7" fmla="*/ 3504640 h 4768850"/>
              <a:gd name="connsiteX8" fmla="*/ 3385892 w 4665662"/>
              <a:gd name="connsiteY8" fmla="*/ 3942295 h 4768850"/>
              <a:gd name="connsiteX9" fmla="*/ 3413097 w 4665662"/>
              <a:gd name="connsiteY9" fmla="*/ 4768850 h 4768850"/>
              <a:gd name="connsiteX10" fmla="*/ 1101804 w 4665662"/>
              <a:gd name="connsiteY10" fmla="*/ 4768850 h 4768850"/>
              <a:gd name="connsiteX11" fmla="*/ 0 w 4665662"/>
              <a:gd name="connsiteY11" fmla="*/ 2628197 h 4768850"/>
              <a:gd name="connsiteX12" fmla="*/ 1745656 w 4665662"/>
              <a:gd name="connsiteY12" fmla="*/ 151932 h 4768850"/>
              <a:gd name="connsiteX13" fmla="*/ 1756991 w 4665662"/>
              <a:gd name="connsiteY13" fmla="*/ 147397 h 4768850"/>
              <a:gd name="connsiteX14" fmla="*/ 2627552 w 4665662"/>
              <a:gd name="connsiteY14" fmla="*/ 0 h 4768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665662" h="4768850">
                <a:moveTo>
                  <a:pt x="2627552" y="0"/>
                </a:moveTo>
                <a:cubicBezTo>
                  <a:pt x="3450504" y="0"/>
                  <a:pt x="4183906" y="378696"/>
                  <a:pt x="4665662" y="970551"/>
                </a:cubicBezTo>
                <a:cubicBezTo>
                  <a:pt x="4665662" y="970551"/>
                  <a:pt x="4665662" y="970551"/>
                  <a:pt x="4665662" y="2455856"/>
                </a:cubicBezTo>
                <a:cubicBezTo>
                  <a:pt x="4639591" y="2476265"/>
                  <a:pt x="4611252" y="2494406"/>
                  <a:pt x="4582913" y="2510279"/>
                </a:cubicBezTo>
                <a:cubicBezTo>
                  <a:pt x="4467292" y="2577175"/>
                  <a:pt x="4343736" y="2614591"/>
                  <a:pt x="4219046" y="2624795"/>
                </a:cubicBezTo>
                <a:cubicBezTo>
                  <a:pt x="4194108" y="2627063"/>
                  <a:pt x="4169170" y="2628197"/>
                  <a:pt x="4144232" y="2628197"/>
                </a:cubicBezTo>
                <a:cubicBezTo>
                  <a:pt x="3793968" y="2628197"/>
                  <a:pt x="3492445" y="2833418"/>
                  <a:pt x="3351886" y="3130479"/>
                </a:cubicBezTo>
                <a:cubicBezTo>
                  <a:pt x="3298610" y="3243861"/>
                  <a:pt x="3269137" y="3370849"/>
                  <a:pt x="3269137" y="3504640"/>
                </a:cubicBezTo>
                <a:cubicBezTo>
                  <a:pt x="3269137" y="3664509"/>
                  <a:pt x="3311079" y="3814173"/>
                  <a:pt x="3385892" y="3942295"/>
                </a:cubicBezTo>
                <a:cubicBezTo>
                  <a:pt x="3537787" y="4206475"/>
                  <a:pt x="3537787" y="4514874"/>
                  <a:pt x="3413097" y="4768850"/>
                </a:cubicBezTo>
                <a:cubicBezTo>
                  <a:pt x="3413097" y="4768850"/>
                  <a:pt x="3413097" y="4768850"/>
                  <a:pt x="1101804" y="4768850"/>
                </a:cubicBezTo>
                <a:cubicBezTo>
                  <a:pt x="435281" y="4292646"/>
                  <a:pt x="0" y="3511443"/>
                  <a:pt x="0" y="2628197"/>
                </a:cubicBezTo>
                <a:cubicBezTo>
                  <a:pt x="0" y="1486439"/>
                  <a:pt x="728868" y="514755"/>
                  <a:pt x="1745656" y="151932"/>
                </a:cubicBezTo>
                <a:cubicBezTo>
                  <a:pt x="1749057" y="150798"/>
                  <a:pt x="1753591" y="149664"/>
                  <a:pt x="1756991" y="147397"/>
                </a:cubicBezTo>
                <a:cubicBezTo>
                  <a:pt x="2030175" y="52156"/>
                  <a:pt x="2322629" y="0"/>
                  <a:pt x="2627552" y="0"/>
                </a:cubicBezTo>
                <a:close/>
              </a:path>
            </a:pathLst>
          </a:custGeom>
        </p:spPr>
        <p:txBody>
          <a:bodyPr wrap="square" tIns="144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226B258-ED27-B1F7-D598-04611B0882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92482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(Full Colour) Dark Image">
    <p:bg>
      <p:bgPr>
        <a:solidFill>
          <a:srgbClr val="A7A8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7EFE5F9-8B04-8D8D-09D3-53C33529D293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2901950"/>
              <a:gd name="connsiteY0" fmla="*/ 0 h 1638300"/>
              <a:gd name="connsiteX1" fmla="*/ 581902 w 2901950"/>
              <a:gd name="connsiteY1" fmla="*/ 0 h 1638300"/>
              <a:gd name="connsiteX2" fmla="*/ 1160024 w 2901950"/>
              <a:gd name="connsiteY2" fmla="*/ 0 h 1638300"/>
              <a:gd name="connsiteX3" fmla="*/ 1741926 w 2901950"/>
              <a:gd name="connsiteY3" fmla="*/ 0 h 1638300"/>
              <a:gd name="connsiteX4" fmla="*/ 2320049 w 2901950"/>
              <a:gd name="connsiteY4" fmla="*/ 0 h 1638300"/>
              <a:gd name="connsiteX5" fmla="*/ 2901950 w 2901950"/>
              <a:gd name="connsiteY5" fmla="*/ 0 h 1638300"/>
              <a:gd name="connsiteX6" fmla="*/ 2901950 w 2901950"/>
              <a:gd name="connsiteY6" fmla="*/ 326143 h 1638300"/>
              <a:gd name="connsiteX7" fmla="*/ 2901950 w 2901950"/>
              <a:gd name="connsiteY7" fmla="*/ 356482 h 1638300"/>
              <a:gd name="connsiteX8" fmla="*/ 2467413 w 2901950"/>
              <a:gd name="connsiteY8" fmla="*/ 656079 h 1638300"/>
              <a:gd name="connsiteX9" fmla="*/ 2463635 w 2901950"/>
              <a:gd name="connsiteY9" fmla="*/ 663663 h 1638300"/>
              <a:gd name="connsiteX10" fmla="*/ 2350277 w 2901950"/>
              <a:gd name="connsiteY10" fmla="*/ 982222 h 1638300"/>
              <a:gd name="connsiteX11" fmla="*/ 2350277 w 2901950"/>
              <a:gd name="connsiteY11" fmla="*/ 1312157 h 1638300"/>
              <a:gd name="connsiteX12" fmla="*/ 2350277 w 2901950"/>
              <a:gd name="connsiteY12" fmla="*/ 1315949 h 1638300"/>
              <a:gd name="connsiteX13" fmla="*/ 2320049 w 2901950"/>
              <a:gd name="connsiteY13" fmla="*/ 1331119 h 1638300"/>
              <a:gd name="connsiteX14" fmla="*/ 2029098 w 2901950"/>
              <a:gd name="connsiteY14" fmla="*/ 1501775 h 1638300"/>
              <a:gd name="connsiteX15" fmla="*/ 1915741 w 2901950"/>
              <a:gd name="connsiteY15" fmla="*/ 1615546 h 1638300"/>
              <a:gd name="connsiteX16" fmla="*/ 1904405 w 2901950"/>
              <a:gd name="connsiteY16" fmla="*/ 1638300 h 1638300"/>
              <a:gd name="connsiteX17" fmla="*/ 1741926 w 2901950"/>
              <a:gd name="connsiteY17" fmla="*/ 1638300 h 1638300"/>
              <a:gd name="connsiteX18" fmla="*/ 1160024 w 2901950"/>
              <a:gd name="connsiteY18" fmla="*/ 1638300 h 1638300"/>
              <a:gd name="connsiteX19" fmla="*/ 581902 w 2901950"/>
              <a:gd name="connsiteY19" fmla="*/ 1638300 h 1638300"/>
              <a:gd name="connsiteX20" fmla="*/ 0 w 2901950"/>
              <a:gd name="connsiteY20" fmla="*/ 1638300 h 1638300"/>
              <a:gd name="connsiteX21" fmla="*/ 0 w 2901950"/>
              <a:gd name="connsiteY21" fmla="*/ 1312157 h 1638300"/>
              <a:gd name="connsiteX22" fmla="*/ 0 w 2901950"/>
              <a:gd name="connsiteY22" fmla="*/ 982222 h 1638300"/>
              <a:gd name="connsiteX23" fmla="*/ 0 w 2901950"/>
              <a:gd name="connsiteY23" fmla="*/ 656079 h 1638300"/>
              <a:gd name="connsiteX24" fmla="*/ 0 w 2901950"/>
              <a:gd name="connsiteY24" fmla="*/ 326143 h 1638300"/>
              <a:gd name="connsiteX25" fmla="*/ 0 w 2901950"/>
              <a:gd name="connsiteY25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901950" h="1638300">
                <a:moveTo>
                  <a:pt x="0" y="0"/>
                </a:moveTo>
                <a:cubicBezTo>
                  <a:pt x="0" y="0"/>
                  <a:pt x="0" y="0"/>
                  <a:pt x="581902" y="0"/>
                </a:cubicBezTo>
                <a:cubicBezTo>
                  <a:pt x="581902" y="0"/>
                  <a:pt x="581902" y="0"/>
                  <a:pt x="1160024" y="0"/>
                </a:cubicBezTo>
                <a:cubicBezTo>
                  <a:pt x="1160024" y="0"/>
                  <a:pt x="1160024" y="0"/>
                  <a:pt x="1741926" y="0"/>
                </a:cubicBezTo>
                <a:cubicBezTo>
                  <a:pt x="1741926" y="0"/>
                  <a:pt x="1741926" y="0"/>
                  <a:pt x="2320049" y="0"/>
                </a:cubicBezTo>
                <a:lnTo>
                  <a:pt x="2901950" y="0"/>
                </a:lnTo>
                <a:cubicBezTo>
                  <a:pt x="2901950" y="0"/>
                  <a:pt x="2901950" y="0"/>
                  <a:pt x="2901950" y="326143"/>
                </a:cubicBezTo>
                <a:cubicBezTo>
                  <a:pt x="2901950" y="326143"/>
                  <a:pt x="2901950" y="326143"/>
                  <a:pt x="2901950" y="356482"/>
                </a:cubicBezTo>
                <a:cubicBezTo>
                  <a:pt x="2720578" y="386821"/>
                  <a:pt x="2561878" y="496799"/>
                  <a:pt x="2467413" y="656079"/>
                </a:cubicBezTo>
                <a:cubicBezTo>
                  <a:pt x="2467413" y="659871"/>
                  <a:pt x="2463635" y="659871"/>
                  <a:pt x="2463635" y="663663"/>
                </a:cubicBezTo>
                <a:cubicBezTo>
                  <a:pt x="2406956" y="762265"/>
                  <a:pt x="2365392" y="872243"/>
                  <a:pt x="2350277" y="982222"/>
                </a:cubicBezTo>
                <a:cubicBezTo>
                  <a:pt x="2331384" y="1092200"/>
                  <a:pt x="2331384" y="1202179"/>
                  <a:pt x="2350277" y="1312157"/>
                </a:cubicBezTo>
                <a:cubicBezTo>
                  <a:pt x="2350277" y="1312157"/>
                  <a:pt x="2350277" y="1312157"/>
                  <a:pt x="2350277" y="1315949"/>
                </a:cubicBezTo>
                <a:cubicBezTo>
                  <a:pt x="2350277" y="1315949"/>
                  <a:pt x="2350277" y="1315949"/>
                  <a:pt x="2320049" y="1331119"/>
                </a:cubicBezTo>
                <a:cubicBezTo>
                  <a:pt x="2320049" y="1331119"/>
                  <a:pt x="2320049" y="1331119"/>
                  <a:pt x="2029098" y="1501775"/>
                </a:cubicBezTo>
                <a:cubicBezTo>
                  <a:pt x="1983755" y="1528322"/>
                  <a:pt x="1942191" y="1566245"/>
                  <a:pt x="1915741" y="1615546"/>
                </a:cubicBezTo>
                <a:cubicBezTo>
                  <a:pt x="1911962" y="1623131"/>
                  <a:pt x="1908183" y="1630715"/>
                  <a:pt x="1904405" y="1638300"/>
                </a:cubicBezTo>
                <a:cubicBezTo>
                  <a:pt x="1904405" y="1638300"/>
                  <a:pt x="1904405" y="1638300"/>
                  <a:pt x="1741926" y="1638300"/>
                </a:cubicBezTo>
                <a:cubicBezTo>
                  <a:pt x="1741926" y="1638300"/>
                  <a:pt x="1741926" y="1638300"/>
                  <a:pt x="1160024" y="1638300"/>
                </a:cubicBezTo>
                <a:cubicBezTo>
                  <a:pt x="1160024" y="1638300"/>
                  <a:pt x="1160024" y="1638300"/>
                  <a:pt x="581902" y="1638300"/>
                </a:cubicBezTo>
                <a:cubicBezTo>
                  <a:pt x="581902" y="1638300"/>
                  <a:pt x="581902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  <a:noFill/>
        </p:spPr>
        <p:txBody>
          <a:bodyPr wrap="square" tIns="3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4" name="Picture 3" descr="A blue and pink circle with black background&#10;&#10;Description automatically generated">
            <a:extLst>
              <a:ext uri="{FF2B5EF4-FFF2-40B4-BE49-F238E27FC236}">
                <a16:creationId xmlns:a16="http://schemas.microsoft.com/office/drawing/2014/main" id="{31098AA9-5538-23A3-F13F-E112450ED1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4001" y="0"/>
            <a:ext cx="431799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8BF5FAE-D19B-68EB-DD60-A7A23884BA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1200" y="5644800"/>
            <a:ext cx="5004000" cy="9342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3994169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background with a yellow circle&#10;&#10;Description automatically generated">
            <a:extLst>
              <a:ext uri="{FF2B5EF4-FFF2-40B4-BE49-F238E27FC236}">
                <a16:creationId xmlns:a16="http://schemas.microsoft.com/office/drawing/2014/main" id="{EC7C65FC-796A-79CD-E261-AD02409009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3901" y="0"/>
            <a:ext cx="25780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0140423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 (Full Colour)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84E532BC-FF12-A43F-E81B-E040BE32F4D2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-2" y="0"/>
            <a:ext cx="11255605" cy="6858000"/>
          </a:xfrm>
          <a:custGeom>
            <a:avLst/>
            <a:gdLst>
              <a:gd name="connsiteX0" fmla="*/ 0 w 2678113"/>
              <a:gd name="connsiteY0" fmla="*/ 0 h 1638300"/>
              <a:gd name="connsiteX1" fmla="*/ 581706 w 2678113"/>
              <a:gd name="connsiteY1" fmla="*/ 0 h 1638300"/>
              <a:gd name="connsiteX2" fmla="*/ 1159634 w 2678113"/>
              <a:gd name="connsiteY2" fmla="*/ 0 h 1638300"/>
              <a:gd name="connsiteX3" fmla="*/ 1741340 w 2678113"/>
              <a:gd name="connsiteY3" fmla="*/ 0 h 1638300"/>
              <a:gd name="connsiteX4" fmla="*/ 2319269 w 2678113"/>
              <a:gd name="connsiteY4" fmla="*/ 0 h 1638300"/>
              <a:gd name="connsiteX5" fmla="*/ 2357042 w 2678113"/>
              <a:gd name="connsiteY5" fmla="*/ 0 h 1638300"/>
              <a:gd name="connsiteX6" fmla="*/ 2319269 w 2678113"/>
              <a:gd name="connsiteY6" fmla="*/ 140317 h 1638300"/>
              <a:gd name="connsiteX7" fmla="*/ 2357042 w 2678113"/>
              <a:gd name="connsiteY7" fmla="*/ 280635 h 1638300"/>
              <a:gd name="connsiteX8" fmla="*/ 2387260 w 2678113"/>
              <a:gd name="connsiteY8" fmla="*/ 326143 h 1638300"/>
              <a:gd name="connsiteX9" fmla="*/ 2576126 w 2678113"/>
              <a:gd name="connsiteY9" fmla="*/ 656079 h 1638300"/>
              <a:gd name="connsiteX10" fmla="*/ 2678113 w 2678113"/>
              <a:gd name="connsiteY10" fmla="*/ 834320 h 1638300"/>
              <a:gd name="connsiteX11" fmla="*/ 2459029 w 2678113"/>
              <a:gd name="connsiteY11" fmla="*/ 860866 h 1638300"/>
              <a:gd name="connsiteX12" fmla="*/ 2349487 w 2678113"/>
              <a:gd name="connsiteY12" fmla="*/ 982222 h 1638300"/>
              <a:gd name="connsiteX13" fmla="*/ 2323046 w 2678113"/>
              <a:gd name="connsiteY13" fmla="*/ 1099785 h 1638300"/>
              <a:gd name="connsiteX14" fmla="*/ 2349487 w 2678113"/>
              <a:gd name="connsiteY14" fmla="*/ 1312157 h 1638300"/>
              <a:gd name="connsiteX15" fmla="*/ 2519466 w 2678113"/>
              <a:gd name="connsiteY15" fmla="*/ 1638300 h 1638300"/>
              <a:gd name="connsiteX16" fmla="*/ 2319269 w 2678113"/>
              <a:gd name="connsiteY16" fmla="*/ 1638300 h 1638300"/>
              <a:gd name="connsiteX17" fmla="*/ 1741340 w 2678113"/>
              <a:gd name="connsiteY17" fmla="*/ 1638300 h 1638300"/>
              <a:gd name="connsiteX18" fmla="*/ 1159634 w 2678113"/>
              <a:gd name="connsiteY18" fmla="*/ 1638300 h 1638300"/>
              <a:gd name="connsiteX19" fmla="*/ 581706 w 2678113"/>
              <a:gd name="connsiteY19" fmla="*/ 1638300 h 1638300"/>
              <a:gd name="connsiteX20" fmla="*/ 0 w 2678113"/>
              <a:gd name="connsiteY20" fmla="*/ 1638300 h 1638300"/>
              <a:gd name="connsiteX21" fmla="*/ 0 w 2678113"/>
              <a:gd name="connsiteY21" fmla="*/ 1312157 h 1638300"/>
              <a:gd name="connsiteX22" fmla="*/ 0 w 2678113"/>
              <a:gd name="connsiteY22" fmla="*/ 982222 h 1638300"/>
              <a:gd name="connsiteX23" fmla="*/ 0 w 2678113"/>
              <a:gd name="connsiteY23" fmla="*/ 656079 h 1638300"/>
              <a:gd name="connsiteX24" fmla="*/ 0 w 2678113"/>
              <a:gd name="connsiteY24" fmla="*/ 326143 h 1638300"/>
              <a:gd name="connsiteX25" fmla="*/ 0 w 2678113"/>
              <a:gd name="connsiteY25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678113" h="1638300">
                <a:moveTo>
                  <a:pt x="0" y="0"/>
                </a:moveTo>
                <a:cubicBezTo>
                  <a:pt x="0" y="0"/>
                  <a:pt x="0" y="0"/>
                  <a:pt x="581706" y="0"/>
                </a:cubicBezTo>
                <a:cubicBezTo>
                  <a:pt x="581706" y="0"/>
                  <a:pt x="581706" y="0"/>
                  <a:pt x="1159634" y="0"/>
                </a:cubicBezTo>
                <a:cubicBezTo>
                  <a:pt x="1159634" y="0"/>
                  <a:pt x="1159634" y="0"/>
                  <a:pt x="1741340" y="0"/>
                </a:cubicBezTo>
                <a:cubicBezTo>
                  <a:pt x="1741340" y="0"/>
                  <a:pt x="1741340" y="0"/>
                  <a:pt x="2319269" y="0"/>
                </a:cubicBezTo>
                <a:cubicBezTo>
                  <a:pt x="2319269" y="0"/>
                  <a:pt x="2319269" y="0"/>
                  <a:pt x="2357042" y="0"/>
                </a:cubicBezTo>
                <a:cubicBezTo>
                  <a:pt x="2334378" y="41716"/>
                  <a:pt x="2319269" y="91017"/>
                  <a:pt x="2319269" y="140317"/>
                </a:cubicBezTo>
                <a:cubicBezTo>
                  <a:pt x="2319269" y="189618"/>
                  <a:pt x="2334378" y="238919"/>
                  <a:pt x="2357042" y="280635"/>
                </a:cubicBezTo>
                <a:cubicBezTo>
                  <a:pt x="2357042" y="280635"/>
                  <a:pt x="2357042" y="280635"/>
                  <a:pt x="2387260" y="326143"/>
                </a:cubicBezTo>
                <a:cubicBezTo>
                  <a:pt x="2387260" y="326143"/>
                  <a:pt x="2387260" y="326143"/>
                  <a:pt x="2576126" y="656079"/>
                </a:cubicBezTo>
                <a:cubicBezTo>
                  <a:pt x="2576126" y="656079"/>
                  <a:pt x="2576126" y="656079"/>
                  <a:pt x="2678113" y="834320"/>
                </a:cubicBezTo>
                <a:cubicBezTo>
                  <a:pt x="2606344" y="811565"/>
                  <a:pt x="2527021" y="822943"/>
                  <a:pt x="2459029" y="860866"/>
                </a:cubicBezTo>
                <a:cubicBezTo>
                  <a:pt x="2409924" y="887413"/>
                  <a:pt x="2372151" y="932921"/>
                  <a:pt x="2349487" y="982222"/>
                </a:cubicBezTo>
                <a:cubicBezTo>
                  <a:pt x="2330601" y="1020145"/>
                  <a:pt x="2323046" y="1058069"/>
                  <a:pt x="2323046" y="1099785"/>
                </a:cubicBezTo>
                <a:cubicBezTo>
                  <a:pt x="2323046" y="1171840"/>
                  <a:pt x="2334378" y="1243895"/>
                  <a:pt x="2349487" y="1312157"/>
                </a:cubicBezTo>
                <a:cubicBezTo>
                  <a:pt x="2383483" y="1429720"/>
                  <a:pt x="2440143" y="1543491"/>
                  <a:pt x="2519466" y="1638300"/>
                </a:cubicBezTo>
                <a:cubicBezTo>
                  <a:pt x="2519466" y="1638300"/>
                  <a:pt x="2519466" y="1638300"/>
                  <a:pt x="2319269" y="1638300"/>
                </a:cubicBezTo>
                <a:cubicBezTo>
                  <a:pt x="2319269" y="1638300"/>
                  <a:pt x="2319269" y="1638300"/>
                  <a:pt x="1741340" y="1638300"/>
                </a:cubicBezTo>
                <a:cubicBezTo>
                  <a:pt x="1741340" y="1638300"/>
                  <a:pt x="1741340" y="1638300"/>
                  <a:pt x="1159634" y="1638300"/>
                </a:cubicBezTo>
                <a:cubicBezTo>
                  <a:pt x="1159634" y="1638300"/>
                  <a:pt x="1159634" y="1638300"/>
                  <a:pt x="581706" y="1638300"/>
                </a:cubicBezTo>
                <a:cubicBezTo>
                  <a:pt x="581706" y="1638300"/>
                  <a:pt x="581706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7" name="Picture 6" descr="A colorful background with a yellow circle&#10;&#10;Description automatically generated">
            <a:extLst>
              <a:ext uri="{FF2B5EF4-FFF2-40B4-BE49-F238E27FC236}">
                <a16:creationId xmlns:a16="http://schemas.microsoft.com/office/drawing/2014/main" id="{1B1FA352-8795-6DB4-2152-036324FBAC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3901" y="0"/>
            <a:ext cx="25780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0508374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 (Full Colour) Dark Image">
    <p:bg>
      <p:bgPr>
        <a:solidFill>
          <a:srgbClr val="A7A8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1C7857F-F7F1-5051-2D7C-555A2F260E0C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-2" y="0"/>
            <a:ext cx="11255605" cy="6858000"/>
          </a:xfrm>
          <a:custGeom>
            <a:avLst/>
            <a:gdLst>
              <a:gd name="connsiteX0" fmla="*/ 0 w 2678113"/>
              <a:gd name="connsiteY0" fmla="*/ 0 h 1638300"/>
              <a:gd name="connsiteX1" fmla="*/ 581706 w 2678113"/>
              <a:gd name="connsiteY1" fmla="*/ 0 h 1638300"/>
              <a:gd name="connsiteX2" fmla="*/ 1159634 w 2678113"/>
              <a:gd name="connsiteY2" fmla="*/ 0 h 1638300"/>
              <a:gd name="connsiteX3" fmla="*/ 1741340 w 2678113"/>
              <a:gd name="connsiteY3" fmla="*/ 0 h 1638300"/>
              <a:gd name="connsiteX4" fmla="*/ 2319269 w 2678113"/>
              <a:gd name="connsiteY4" fmla="*/ 0 h 1638300"/>
              <a:gd name="connsiteX5" fmla="*/ 2357042 w 2678113"/>
              <a:gd name="connsiteY5" fmla="*/ 0 h 1638300"/>
              <a:gd name="connsiteX6" fmla="*/ 2319269 w 2678113"/>
              <a:gd name="connsiteY6" fmla="*/ 140317 h 1638300"/>
              <a:gd name="connsiteX7" fmla="*/ 2357042 w 2678113"/>
              <a:gd name="connsiteY7" fmla="*/ 280635 h 1638300"/>
              <a:gd name="connsiteX8" fmla="*/ 2387260 w 2678113"/>
              <a:gd name="connsiteY8" fmla="*/ 326143 h 1638300"/>
              <a:gd name="connsiteX9" fmla="*/ 2576126 w 2678113"/>
              <a:gd name="connsiteY9" fmla="*/ 656079 h 1638300"/>
              <a:gd name="connsiteX10" fmla="*/ 2678113 w 2678113"/>
              <a:gd name="connsiteY10" fmla="*/ 834320 h 1638300"/>
              <a:gd name="connsiteX11" fmla="*/ 2459029 w 2678113"/>
              <a:gd name="connsiteY11" fmla="*/ 860866 h 1638300"/>
              <a:gd name="connsiteX12" fmla="*/ 2349487 w 2678113"/>
              <a:gd name="connsiteY12" fmla="*/ 982222 h 1638300"/>
              <a:gd name="connsiteX13" fmla="*/ 2323046 w 2678113"/>
              <a:gd name="connsiteY13" fmla="*/ 1099785 h 1638300"/>
              <a:gd name="connsiteX14" fmla="*/ 2349487 w 2678113"/>
              <a:gd name="connsiteY14" fmla="*/ 1312157 h 1638300"/>
              <a:gd name="connsiteX15" fmla="*/ 2519466 w 2678113"/>
              <a:gd name="connsiteY15" fmla="*/ 1638300 h 1638300"/>
              <a:gd name="connsiteX16" fmla="*/ 2319269 w 2678113"/>
              <a:gd name="connsiteY16" fmla="*/ 1638300 h 1638300"/>
              <a:gd name="connsiteX17" fmla="*/ 1741340 w 2678113"/>
              <a:gd name="connsiteY17" fmla="*/ 1638300 h 1638300"/>
              <a:gd name="connsiteX18" fmla="*/ 1159634 w 2678113"/>
              <a:gd name="connsiteY18" fmla="*/ 1638300 h 1638300"/>
              <a:gd name="connsiteX19" fmla="*/ 581706 w 2678113"/>
              <a:gd name="connsiteY19" fmla="*/ 1638300 h 1638300"/>
              <a:gd name="connsiteX20" fmla="*/ 0 w 2678113"/>
              <a:gd name="connsiteY20" fmla="*/ 1638300 h 1638300"/>
              <a:gd name="connsiteX21" fmla="*/ 0 w 2678113"/>
              <a:gd name="connsiteY21" fmla="*/ 1312157 h 1638300"/>
              <a:gd name="connsiteX22" fmla="*/ 0 w 2678113"/>
              <a:gd name="connsiteY22" fmla="*/ 982222 h 1638300"/>
              <a:gd name="connsiteX23" fmla="*/ 0 w 2678113"/>
              <a:gd name="connsiteY23" fmla="*/ 656079 h 1638300"/>
              <a:gd name="connsiteX24" fmla="*/ 0 w 2678113"/>
              <a:gd name="connsiteY24" fmla="*/ 326143 h 1638300"/>
              <a:gd name="connsiteX25" fmla="*/ 0 w 2678113"/>
              <a:gd name="connsiteY25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678113" h="1638300">
                <a:moveTo>
                  <a:pt x="0" y="0"/>
                </a:moveTo>
                <a:cubicBezTo>
                  <a:pt x="0" y="0"/>
                  <a:pt x="0" y="0"/>
                  <a:pt x="581706" y="0"/>
                </a:cubicBezTo>
                <a:cubicBezTo>
                  <a:pt x="581706" y="0"/>
                  <a:pt x="581706" y="0"/>
                  <a:pt x="1159634" y="0"/>
                </a:cubicBezTo>
                <a:cubicBezTo>
                  <a:pt x="1159634" y="0"/>
                  <a:pt x="1159634" y="0"/>
                  <a:pt x="1741340" y="0"/>
                </a:cubicBezTo>
                <a:cubicBezTo>
                  <a:pt x="1741340" y="0"/>
                  <a:pt x="1741340" y="0"/>
                  <a:pt x="2319269" y="0"/>
                </a:cubicBezTo>
                <a:cubicBezTo>
                  <a:pt x="2319269" y="0"/>
                  <a:pt x="2319269" y="0"/>
                  <a:pt x="2357042" y="0"/>
                </a:cubicBezTo>
                <a:cubicBezTo>
                  <a:pt x="2334378" y="41716"/>
                  <a:pt x="2319269" y="91017"/>
                  <a:pt x="2319269" y="140317"/>
                </a:cubicBezTo>
                <a:cubicBezTo>
                  <a:pt x="2319269" y="189618"/>
                  <a:pt x="2334378" y="238919"/>
                  <a:pt x="2357042" y="280635"/>
                </a:cubicBezTo>
                <a:cubicBezTo>
                  <a:pt x="2357042" y="280635"/>
                  <a:pt x="2357042" y="280635"/>
                  <a:pt x="2387260" y="326143"/>
                </a:cubicBezTo>
                <a:cubicBezTo>
                  <a:pt x="2387260" y="326143"/>
                  <a:pt x="2387260" y="326143"/>
                  <a:pt x="2576126" y="656079"/>
                </a:cubicBezTo>
                <a:cubicBezTo>
                  <a:pt x="2576126" y="656079"/>
                  <a:pt x="2576126" y="656079"/>
                  <a:pt x="2678113" y="834320"/>
                </a:cubicBezTo>
                <a:cubicBezTo>
                  <a:pt x="2606344" y="811565"/>
                  <a:pt x="2527021" y="822943"/>
                  <a:pt x="2459029" y="860866"/>
                </a:cubicBezTo>
                <a:cubicBezTo>
                  <a:pt x="2409924" y="887413"/>
                  <a:pt x="2372151" y="932921"/>
                  <a:pt x="2349487" y="982222"/>
                </a:cubicBezTo>
                <a:cubicBezTo>
                  <a:pt x="2330601" y="1020145"/>
                  <a:pt x="2323046" y="1058069"/>
                  <a:pt x="2323046" y="1099785"/>
                </a:cubicBezTo>
                <a:cubicBezTo>
                  <a:pt x="2323046" y="1171840"/>
                  <a:pt x="2334378" y="1243895"/>
                  <a:pt x="2349487" y="1312157"/>
                </a:cubicBezTo>
                <a:cubicBezTo>
                  <a:pt x="2383483" y="1429720"/>
                  <a:pt x="2440143" y="1543491"/>
                  <a:pt x="2519466" y="1638300"/>
                </a:cubicBezTo>
                <a:cubicBezTo>
                  <a:pt x="2519466" y="1638300"/>
                  <a:pt x="2519466" y="1638300"/>
                  <a:pt x="2319269" y="1638300"/>
                </a:cubicBezTo>
                <a:cubicBezTo>
                  <a:pt x="2319269" y="1638300"/>
                  <a:pt x="2319269" y="1638300"/>
                  <a:pt x="1741340" y="1638300"/>
                </a:cubicBezTo>
                <a:cubicBezTo>
                  <a:pt x="1741340" y="1638300"/>
                  <a:pt x="1741340" y="1638300"/>
                  <a:pt x="1159634" y="1638300"/>
                </a:cubicBezTo>
                <a:cubicBezTo>
                  <a:pt x="1159634" y="1638300"/>
                  <a:pt x="1159634" y="1638300"/>
                  <a:pt x="581706" y="1638300"/>
                </a:cubicBezTo>
                <a:cubicBezTo>
                  <a:pt x="581706" y="1638300"/>
                  <a:pt x="581706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4" name="Picture 3" descr="A colorful background with a yellow circle&#10;&#10;Description automatically generated">
            <a:extLst>
              <a:ext uri="{FF2B5EF4-FFF2-40B4-BE49-F238E27FC236}">
                <a16:creationId xmlns:a16="http://schemas.microsoft.com/office/drawing/2014/main" id="{732627F9-F370-0591-C057-AF446D065C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3901" y="0"/>
            <a:ext cx="257809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8BF5FAE-D19B-68EB-DD60-A7A23884BA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1200" y="5644800"/>
            <a:ext cx="5004000" cy="9342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6235208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s and a black background&#10;&#10;Description automatically generated">
            <a:extLst>
              <a:ext uri="{FF2B5EF4-FFF2-40B4-BE49-F238E27FC236}">
                <a16:creationId xmlns:a16="http://schemas.microsoft.com/office/drawing/2014/main" id="{BA64FC08-ECEA-0F90-AB3C-91D0BF3F308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0" y="0"/>
            <a:ext cx="3048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8545513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 (Full Colour)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6B533BC5-90F7-C111-CF8F-08F5D15E7D83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8286" cy="6858000"/>
          </a:xfrm>
          <a:custGeom>
            <a:avLst/>
            <a:gdLst>
              <a:gd name="connsiteX0" fmla="*/ 0 w 2901950"/>
              <a:gd name="connsiteY0" fmla="*/ 0 h 1638300"/>
              <a:gd name="connsiteX1" fmla="*/ 581902 w 2901950"/>
              <a:gd name="connsiteY1" fmla="*/ 0 h 1638300"/>
              <a:gd name="connsiteX2" fmla="*/ 1160024 w 2901950"/>
              <a:gd name="connsiteY2" fmla="*/ 0 h 1638300"/>
              <a:gd name="connsiteX3" fmla="*/ 1741926 w 2901950"/>
              <a:gd name="connsiteY3" fmla="*/ 0 h 1638300"/>
              <a:gd name="connsiteX4" fmla="*/ 2320049 w 2901950"/>
              <a:gd name="connsiteY4" fmla="*/ 0 h 1638300"/>
              <a:gd name="connsiteX5" fmla="*/ 2901950 w 2901950"/>
              <a:gd name="connsiteY5" fmla="*/ 0 h 1638300"/>
              <a:gd name="connsiteX6" fmla="*/ 2901950 w 2901950"/>
              <a:gd name="connsiteY6" fmla="*/ 326143 h 1638300"/>
              <a:gd name="connsiteX7" fmla="*/ 2728135 w 2901950"/>
              <a:gd name="connsiteY7" fmla="*/ 390613 h 1638300"/>
              <a:gd name="connsiteX8" fmla="*/ 2641228 w 2901950"/>
              <a:gd name="connsiteY8" fmla="*/ 511969 h 1638300"/>
              <a:gd name="connsiteX9" fmla="*/ 2588328 w 2901950"/>
              <a:gd name="connsiteY9" fmla="*/ 656079 h 1638300"/>
              <a:gd name="connsiteX10" fmla="*/ 2459856 w 2901950"/>
              <a:gd name="connsiteY10" fmla="*/ 982222 h 1638300"/>
              <a:gd name="connsiteX11" fmla="*/ 2433406 w 2901950"/>
              <a:gd name="connsiteY11" fmla="*/ 1054277 h 1638300"/>
              <a:gd name="connsiteX12" fmla="*/ 2335163 w 2901950"/>
              <a:gd name="connsiteY12" fmla="*/ 1308365 h 1638300"/>
              <a:gd name="connsiteX13" fmla="*/ 2320049 w 2901950"/>
              <a:gd name="connsiteY13" fmla="*/ 1350081 h 1638300"/>
              <a:gd name="connsiteX14" fmla="*/ 2225584 w 2901950"/>
              <a:gd name="connsiteY14" fmla="*/ 1596584 h 1638300"/>
              <a:gd name="connsiteX15" fmla="*/ 2214248 w 2901950"/>
              <a:gd name="connsiteY15" fmla="*/ 1638300 h 1638300"/>
              <a:gd name="connsiteX16" fmla="*/ 1741926 w 2901950"/>
              <a:gd name="connsiteY16" fmla="*/ 1638300 h 1638300"/>
              <a:gd name="connsiteX17" fmla="*/ 1160024 w 2901950"/>
              <a:gd name="connsiteY17" fmla="*/ 1638300 h 1638300"/>
              <a:gd name="connsiteX18" fmla="*/ 581902 w 2901950"/>
              <a:gd name="connsiteY18" fmla="*/ 1638300 h 1638300"/>
              <a:gd name="connsiteX19" fmla="*/ 0 w 2901950"/>
              <a:gd name="connsiteY19" fmla="*/ 1638300 h 1638300"/>
              <a:gd name="connsiteX20" fmla="*/ 0 w 2901950"/>
              <a:gd name="connsiteY20" fmla="*/ 1308365 h 1638300"/>
              <a:gd name="connsiteX21" fmla="*/ 0 w 2901950"/>
              <a:gd name="connsiteY21" fmla="*/ 982222 h 1638300"/>
              <a:gd name="connsiteX22" fmla="*/ 0 w 2901950"/>
              <a:gd name="connsiteY22" fmla="*/ 656079 h 1638300"/>
              <a:gd name="connsiteX23" fmla="*/ 0 w 2901950"/>
              <a:gd name="connsiteY23" fmla="*/ 326143 h 1638300"/>
              <a:gd name="connsiteX24" fmla="*/ 0 w 2901950"/>
              <a:gd name="connsiteY24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901950" h="1638300">
                <a:moveTo>
                  <a:pt x="0" y="0"/>
                </a:moveTo>
                <a:cubicBezTo>
                  <a:pt x="0" y="0"/>
                  <a:pt x="0" y="0"/>
                  <a:pt x="581902" y="0"/>
                </a:cubicBezTo>
                <a:cubicBezTo>
                  <a:pt x="581902" y="0"/>
                  <a:pt x="581902" y="0"/>
                  <a:pt x="1160024" y="0"/>
                </a:cubicBezTo>
                <a:cubicBezTo>
                  <a:pt x="1160024" y="0"/>
                  <a:pt x="1160024" y="0"/>
                  <a:pt x="1741926" y="0"/>
                </a:cubicBezTo>
                <a:cubicBezTo>
                  <a:pt x="1741926" y="0"/>
                  <a:pt x="1741926" y="0"/>
                  <a:pt x="2320049" y="0"/>
                </a:cubicBezTo>
                <a:lnTo>
                  <a:pt x="2901950" y="0"/>
                </a:lnTo>
                <a:cubicBezTo>
                  <a:pt x="2901950" y="0"/>
                  <a:pt x="2901950" y="0"/>
                  <a:pt x="2901950" y="326143"/>
                </a:cubicBezTo>
                <a:cubicBezTo>
                  <a:pt x="2841493" y="329936"/>
                  <a:pt x="2777257" y="352690"/>
                  <a:pt x="2728135" y="390613"/>
                </a:cubicBezTo>
                <a:cubicBezTo>
                  <a:pt x="2690350" y="424745"/>
                  <a:pt x="2660121" y="466461"/>
                  <a:pt x="2641228" y="511969"/>
                </a:cubicBezTo>
                <a:cubicBezTo>
                  <a:pt x="2641228" y="511969"/>
                  <a:pt x="2641228" y="511969"/>
                  <a:pt x="2588328" y="656079"/>
                </a:cubicBezTo>
                <a:cubicBezTo>
                  <a:pt x="2588328" y="656079"/>
                  <a:pt x="2588328" y="656079"/>
                  <a:pt x="2459856" y="982222"/>
                </a:cubicBezTo>
                <a:cubicBezTo>
                  <a:pt x="2459856" y="982222"/>
                  <a:pt x="2459856" y="982222"/>
                  <a:pt x="2433406" y="1054277"/>
                </a:cubicBezTo>
                <a:cubicBezTo>
                  <a:pt x="2433406" y="1054277"/>
                  <a:pt x="2433406" y="1054277"/>
                  <a:pt x="2335163" y="1308365"/>
                </a:cubicBezTo>
                <a:cubicBezTo>
                  <a:pt x="2335163" y="1308365"/>
                  <a:pt x="2335163" y="1308365"/>
                  <a:pt x="2320049" y="1350081"/>
                </a:cubicBezTo>
                <a:cubicBezTo>
                  <a:pt x="2320049" y="1350081"/>
                  <a:pt x="2320049" y="1350081"/>
                  <a:pt x="2225584" y="1596584"/>
                </a:cubicBezTo>
                <a:cubicBezTo>
                  <a:pt x="2221806" y="1607961"/>
                  <a:pt x="2218027" y="1623131"/>
                  <a:pt x="2214248" y="1638300"/>
                </a:cubicBezTo>
                <a:cubicBezTo>
                  <a:pt x="2214248" y="1638300"/>
                  <a:pt x="2214248" y="1638300"/>
                  <a:pt x="1741926" y="1638300"/>
                </a:cubicBezTo>
                <a:cubicBezTo>
                  <a:pt x="1741926" y="1638300"/>
                  <a:pt x="1741926" y="1638300"/>
                  <a:pt x="1160024" y="1638300"/>
                </a:cubicBezTo>
                <a:cubicBezTo>
                  <a:pt x="1160024" y="1638300"/>
                  <a:pt x="1160024" y="1638300"/>
                  <a:pt x="581902" y="1638300"/>
                </a:cubicBezTo>
                <a:cubicBezTo>
                  <a:pt x="581902" y="1638300"/>
                  <a:pt x="581902" y="1638300"/>
                  <a:pt x="0" y="1638300"/>
                </a:cubicBezTo>
                <a:cubicBezTo>
                  <a:pt x="0" y="1638300"/>
                  <a:pt x="0" y="1638300"/>
                  <a:pt x="0" y="1308365"/>
                </a:cubicBezTo>
                <a:cubicBezTo>
                  <a:pt x="0" y="1308365"/>
                  <a:pt x="0" y="1308365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  <a:noFill/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7" name="Picture 6" descr="A colorful circles and a black background&#10;&#10;Description automatically generated">
            <a:extLst>
              <a:ext uri="{FF2B5EF4-FFF2-40B4-BE49-F238E27FC236}">
                <a16:creationId xmlns:a16="http://schemas.microsoft.com/office/drawing/2014/main" id="{E3B2E7AF-7F6F-7319-5894-01BE4B1346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0" y="0"/>
            <a:ext cx="3048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6567161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 (Full Colour) Dark Image">
    <p:bg>
      <p:bgPr>
        <a:solidFill>
          <a:srgbClr val="A7A8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4A0AA0A-BF81-ACA8-E016-4EE23C249B75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8286" cy="6858000"/>
          </a:xfrm>
          <a:custGeom>
            <a:avLst/>
            <a:gdLst>
              <a:gd name="connsiteX0" fmla="*/ 0 w 2901950"/>
              <a:gd name="connsiteY0" fmla="*/ 0 h 1638300"/>
              <a:gd name="connsiteX1" fmla="*/ 581902 w 2901950"/>
              <a:gd name="connsiteY1" fmla="*/ 0 h 1638300"/>
              <a:gd name="connsiteX2" fmla="*/ 1160024 w 2901950"/>
              <a:gd name="connsiteY2" fmla="*/ 0 h 1638300"/>
              <a:gd name="connsiteX3" fmla="*/ 1741926 w 2901950"/>
              <a:gd name="connsiteY3" fmla="*/ 0 h 1638300"/>
              <a:gd name="connsiteX4" fmla="*/ 2320049 w 2901950"/>
              <a:gd name="connsiteY4" fmla="*/ 0 h 1638300"/>
              <a:gd name="connsiteX5" fmla="*/ 2901950 w 2901950"/>
              <a:gd name="connsiteY5" fmla="*/ 0 h 1638300"/>
              <a:gd name="connsiteX6" fmla="*/ 2901950 w 2901950"/>
              <a:gd name="connsiteY6" fmla="*/ 326143 h 1638300"/>
              <a:gd name="connsiteX7" fmla="*/ 2728135 w 2901950"/>
              <a:gd name="connsiteY7" fmla="*/ 390613 h 1638300"/>
              <a:gd name="connsiteX8" fmla="*/ 2641228 w 2901950"/>
              <a:gd name="connsiteY8" fmla="*/ 511969 h 1638300"/>
              <a:gd name="connsiteX9" fmla="*/ 2588328 w 2901950"/>
              <a:gd name="connsiteY9" fmla="*/ 656079 h 1638300"/>
              <a:gd name="connsiteX10" fmla="*/ 2459856 w 2901950"/>
              <a:gd name="connsiteY10" fmla="*/ 982222 h 1638300"/>
              <a:gd name="connsiteX11" fmla="*/ 2433406 w 2901950"/>
              <a:gd name="connsiteY11" fmla="*/ 1054277 h 1638300"/>
              <a:gd name="connsiteX12" fmla="*/ 2335163 w 2901950"/>
              <a:gd name="connsiteY12" fmla="*/ 1308365 h 1638300"/>
              <a:gd name="connsiteX13" fmla="*/ 2320049 w 2901950"/>
              <a:gd name="connsiteY13" fmla="*/ 1350081 h 1638300"/>
              <a:gd name="connsiteX14" fmla="*/ 2225584 w 2901950"/>
              <a:gd name="connsiteY14" fmla="*/ 1596584 h 1638300"/>
              <a:gd name="connsiteX15" fmla="*/ 2214248 w 2901950"/>
              <a:gd name="connsiteY15" fmla="*/ 1638300 h 1638300"/>
              <a:gd name="connsiteX16" fmla="*/ 1741926 w 2901950"/>
              <a:gd name="connsiteY16" fmla="*/ 1638300 h 1638300"/>
              <a:gd name="connsiteX17" fmla="*/ 1160024 w 2901950"/>
              <a:gd name="connsiteY17" fmla="*/ 1638300 h 1638300"/>
              <a:gd name="connsiteX18" fmla="*/ 581902 w 2901950"/>
              <a:gd name="connsiteY18" fmla="*/ 1638300 h 1638300"/>
              <a:gd name="connsiteX19" fmla="*/ 0 w 2901950"/>
              <a:gd name="connsiteY19" fmla="*/ 1638300 h 1638300"/>
              <a:gd name="connsiteX20" fmla="*/ 0 w 2901950"/>
              <a:gd name="connsiteY20" fmla="*/ 1308365 h 1638300"/>
              <a:gd name="connsiteX21" fmla="*/ 0 w 2901950"/>
              <a:gd name="connsiteY21" fmla="*/ 982222 h 1638300"/>
              <a:gd name="connsiteX22" fmla="*/ 0 w 2901950"/>
              <a:gd name="connsiteY22" fmla="*/ 656079 h 1638300"/>
              <a:gd name="connsiteX23" fmla="*/ 0 w 2901950"/>
              <a:gd name="connsiteY23" fmla="*/ 326143 h 1638300"/>
              <a:gd name="connsiteX24" fmla="*/ 0 w 2901950"/>
              <a:gd name="connsiteY24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901950" h="1638300">
                <a:moveTo>
                  <a:pt x="0" y="0"/>
                </a:moveTo>
                <a:cubicBezTo>
                  <a:pt x="0" y="0"/>
                  <a:pt x="0" y="0"/>
                  <a:pt x="581902" y="0"/>
                </a:cubicBezTo>
                <a:cubicBezTo>
                  <a:pt x="581902" y="0"/>
                  <a:pt x="581902" y="0"/>
                  <a:pt x="1160024" y="0"/>
                </a:cubicBezTo>
                <a:cubicBezTo>
                  <a:pt x="1160024" y="0"/>
                  <a:pt x="1160024" y="0"/>
                  <a:pt x="1741926" y="0"/>
                </a:cubicBezTo>
                <a:cubicBezTo>
                  <a:pt x="1741926" y="0"/>
                  <a:pt x="1741926" y="0"/>
                  <a:pt x="2320049" y="0"/>
                </a:cubicBezTo>
                <a:lnTo>
                  <a:pt x="2901950" y="0"/>
                </a:lnTo>
                <a:cubicBezTo>
                  <a:pt x="2901950" y="0"/>
                  <a:pt x="2901950" y="0"/>
                  <a:pt x="2901950" y="326143"/>
                </a:cubicBezTo>
                <a:cubicBezTo>
                  <a:pt x="2841493" y="329936"/>
                  <a:pt x="2777257" y="352690"/>
                  <a:pt x="2728135" y="390613"/>
                </a:cubicBezTo>
                <a:cubicBezTo>
                  <a:pt x="2690350" y="424745"/>
                  <a:pt x="2660121" y="466461"/>
                  <a:pt x="2641228" y="511969"/>
                </a:cubicBezTo>
                <a:cubicBezTo>
                  <a:pt x="2641228" y="511969"/>
                  <a:pt x="2641228" y="511969"/>
                  <a:pt x="2588328" y="656079"/>
                </a:cubicBezTo>
                <a:cubicBezTo>
                  <a:pt x="2588328" y="656079"/>
                  <a:pt x="2588328" y="656079"/>
                  <a:pt x="2459856" y="982222"/>
                </a:cubicBezTo>
                <a:cubicBezTo>
                  <a:pt x="2459856" y="982222"/>
                  <a:pt x="2459856" y="982222"/>
                  <a:pt x="2433406" y="1054277"/>
                </a:cubicBezTo>
                <a:cubicBezTo>
                  <a:pt x="2433406" y="1054277"/>
                  <a:pt x="2433406" y="1054277"/>
                  <a:pt x="2335163" y="1308365"/>
                </a:cubicBezTo>
                <a:cubicBezTo>
                  <a:pt x="2335163" y="1308365"/>
                  <a:pt x="2335163" y="1308365"/>
                  <a:pt x="2320049" y="1350081"/>
                </a:cubicBezTo>
                <a:cubicBezTo>
                  <a:pt x="2320049" y="1350081"/>
                  <a:pt x="2320049" y="1350081"/>
                  <a:pt x="2225584" y="1596584"/>
                </a:cubicBezTo>
                <a:cubicBezTo>
                  <a:pt x="2221806" y="1607961"/>
                  <a:pt x="2218027" y="1623131"/>
                  <a:pt x="2214248" y="1638300"/>
                </a:cubicBezTo>
                <a:cubicBezTo>
                  <a:pt x="2214248" y="1638300"/>
                  <a:pt x="2214248" y="1638300"/>
                  <a:pt x="1741926" y="1638300"/>
                </a:cubicBezTo>
                <a:cubicBezTo>
                  <a:pt x="1741926" y="1638300"/>
                  <a:pt x="1741926" y="1638300"/>
                  <a:pt x="1160024" y="1638300"/>
                </a:cubicBezTo>
                <a:cubicBezTo>
                  <a:pt x="1160024" y="1638300"/>
                  <a:pt x="1160024" y="1638300"/>
                  <a:pt x="581902" y="1638300"/>
                </a:cubicBezTo>
                <a:cubicBezTo>
                  <a:pt x="581902" y="1638300"/>
                  <a:pt x="581902" y="1638300"/>
                  <a:pt x="0" y="1638300"/>
                </a:cubicBezTo>
                <a:cubicBezTo>
                  <a:pt x="0" y="1638300"/>
                  <a:pt x="0" y="1638300"/>
                  <a:pt x="0" y="1308365"/>
                </a:cubicBezTo>
                <a:cubicBezTo>
                  <a:pt x="0" y="1308365"/>
                  <a:pt x="0" y="1308365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  <a:noFill/>
        </p:spPr>
        <p:txBody>
          <a:bodyPr wrap="square" tIns="3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4" name="Picture 3" descr="A colorful circles and a black background&#10;&#10;Description automatically generated">
            <a:extLst>
              <a:ext uri="{FF2B5EF4-FFF2-40B4-BE49-F238E27FC236}">
                <a16:creationId xmlns:a16="http://schemas.microsoft.com/office/drawing/2014/main" id="{3A6839E8-C4DA-B75E-95D4-3470D67610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0" y="0"/>
            <a:ext cx="3048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8BF5FAE-D19B-68EB-DD60-A7A23884BA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1200" y="5644800"/>
            <a:ext cx="5004000" cy="9342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3022234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yellow and orange curved object&#10;&#10;Description automatically generated">
            <a:extLst>
              <a:ext uri="{FF2B5EF4-FFF2-40B4-BE49-F238E27FC236}">
                <a16:creationId xmlns:a16="http://schemas.microsoft.com/office/drawing/2014/main" id="{3E5D2A65-B6A1-B307-849A-B908EBCF9E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8842" y="4776791"/>
            <a:ext cx="3348165" cy="2081210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FA25391-214F-BAE1-D237-9A5DA6730DEC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428529" y="0"/>
            <a:ext cx="6763471" cy="6858000"/>
          </a:xfrm>
          <a:custGeom>
            <a:avLst/>
            <a:gdLst>
              <a:gd name="connsiteX0" fmla="*/ 377459 w 3359817"/>
              <a:gd name="connsiteY0" fmla="*/ 0 h 3406775"/>
              <a:gd name="connsiteX1" fmla="*/ 3359817 w 3359817"/>
              <a:gd name="connsiteY1" fmla="*/ 0 h 3406775"/>
              <a:gd name="connsiteX2" fmla="*/ 3359817 w 3359817"/>
              <a:gd name="connsiteY2" fmla="*/ 3406775 h 3406775"/>
              <a:gd name="connsiteX3" fmla="*/ 2223681 w 3359817"/>
              <a:gd name="connsiteY3" fmla="*/ 3406775 h 3406775"/>
              <a:gd name="connsiteX4" fmla="*/ 740392 w 3359817"/>
              <a:gd name="connsiteY4" fmla="*/ 2562967 h 3406775"/>
              <a:gd name="connsiteX5" fmla="*/ 46086 w 3359817"/>
              <a:gd name="connsiteY5" fmla="*/ 1939969 h 3406775"/>
              <a:gd name="connsiteX6" fmla="*/ 235442 w 3359817"/>
              <a:gd name="connsiteY6" fmla="*/ 1033073 h 3406775"/>
              <a:gd name="connsiteX7" fmla="*/ 424798 w 3359817"/>
              <a:gd name="connsiteY7" fmla="*/ 126177 h 3406775"/>
              <a:gd name="connsiteX8" fmla="*/ 377459 w 3359817"/>
              <a:gd name="connsiteY8" fmla="*/ 0 h 340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9817" h="3406775">
                <a:moveTo>
                  <a:pt x="377459" y="0"/>
                </a:moveTo>
                <a:lnTo>
                  <a:pt x="3359817" y="0"/>
                </a:lnTo>
                <a:cubicBezTo>
                  <a:pt x="3359817" y="3406775"/>
                  <a:pt x="3359817" y="3406775"/>
                  <a:pt x="3359817" y="3406775"/>
                </a:cubicBezTo>
                <a:cubicBezTo>
                  <a:pt x="2223681" y="3406775"/>
                  <a:pt x="2223681" y="3406775"/>
                  <a:pt x="2223681" y="3406775"/>
                </a:cubicBezTo>
                <a:cubicBezTo>
                  <a:pt x="1837079" y="2980928"/>
                  <a:pt x="1324239" y="2681258"/>
                  <a:pt x="740392" y="2562967"/>
                </a:cubicBezTo>
                <a:cubicBezTo>
                  <a:pt x="416908" y="2491993"/>
                  <a:pt x="148654" y="2255411"/>
                  <a:pt x="46086" y="1939969"/>
                </a:cubicBezTo>
                <a:cubicBezTo>
                  <a:pt x="-56482" y="1624527"/>
                  <a:pt x="14527" y="1277541"/>
                  <a:pt x="235442" y="1033073"/>
                </a:cubicBezTo>
                <a:cubicBezTo>
                  <a:pt x="456358" y="788605"/>
                  <a:pt x="535256" y="441619"/>
                  <a:pt x="424798" y="126177"/>
                </a:cubicBezTo>
                <a:cubicBezTo>
                  <a:pt x="416908" y="78861"/>
                  <a:pt x="393239" y="39430"/>
                  <a:pt x="377459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510395" cy="2276399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4039093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ack and orange gradient&#10;&#10;Description automatically generated">
            <a:extLst>
              <a:ext uri="{FF2B5EF4-FFF2-40B4-BE49-F238E27FC236}">
                <a16:creationId xmlns:a16="http://schemas.microsoft.com/office/drawing/2014/main" id="{F9DFBF29-178B-7AE6-A802-BD30CC89A1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6535" y="5010151"/>
            <a:ext cx="3449872" cy="1851438"/>
          </a:xfrm>
          <a:prstGeom prst="rect">
            <a:avLst/>
          </a:prstGeom>
        </p:spPr>
      </p:pic>
      <p:sp>
        <p:nvSpPr>
          <p:cNvPr id="59" name="Picture Placeholder 58">
            <a:extLst>
              <a:ext uri="{FF2B5EF4-FFF2-40B4-BE49-F238E27FC236}">
                <a16:creationId xmlns:a16="http://schemas.microsoft.com/office/drawing/2014/main" id="{35ABE09A-64D7-D976-53AA-CE8331A5F129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397535" y="0"/>
            <a:ext cx="6794466" cy="6858000"/>
          </a:xfrm>
          <a:custGeom>
            <a:avLst/>
            <a:gdLst>
              <a:gd name="connsiteX0" fmla="*/ 0 w 2716213"/>
              <a:gd name="connsiteY0" fmla="*/ 0 h 2741612"/>
              <a:gd name="connsiteX1" fmla="*/ 2716213 w 2716213"/>
              <a:gd name="connsiteY1" fmla="*/ 0 h 2741612"/>
              <a:gd name="connsiteX2" fmla="*/ 2716213 w 2716213"/>
              <a:gd name="connsiteY2" fmla="*/ 2741612 h 2741612"/>
              <a:gd name="connsiteX3" fmla="*/ 1821386 w 2716213"/>
              <a:gd name="connsiteY3" fmla="*/ 2741612 h 2741612"/>
              <a:gd name="connsiteX4" fmla="*/ 1808693 w 2716213"/>
              <a:gd name="connsiteY4" fmla="*/ 2468720 h 2741612"/>
              <a:gd name="connsiteX5" fmla="*/ 1707153 w 2716213"/>
              <a:gd name="connsiteY5" fmla="*/ 2221214 h 2741612"/>
              <a:gd name="connsiteX6" fmla="*/ 1497725 w 2716213"/>
              <a:gd name="connsiteY6" fmla="*/ 2062556 h 2741612"/>
              <a:gd name="connsiteX7" fmla="*/ 1237527 w 2716213"/>
              <a:gd name="connsiteY7" fmla="*/ 2030824 h 2741612"/>
              <a:gd name="connsiteX8" fmla="*/ 1104255 w 2716213"/>
              <a:gd name="connsiteY8" fmla="*/ 2062556 h 2741612"/>
              <a:gd name="connsiteX9" fmla="*/ 990022 w 2716213"/>
              <a:gd name="connsiteY9" fmla="*/ 2132365 h 2741612"/>
              <a:gd name="connsiteX10" fmla="*/ 742516 w 2716213"/>
              <a:gd name="connsiteY10" fmla="*/ 2233906 h 2741612"/>
              <a:gd name="connsiteX11" fmla="*/ 482318 w 2716213"/>
              <a:gd name="connsiteY11" fmla="*/ 2195828 h 2741612"/>
              <a:gd name="connsiteX12" fmla="*/ 272891 w 2716213"/>
              <a:gd name="connsiteY12" fmla="*/ 2037170 h 2741612"/>
              <a:gd name="connsiteX13" fmla="*/ 171350 w 2716213"/>
              <a:gd name="connsiteY13" fmla="*/ 1789664 h 2741612"/>
              <a:gd name="connsiteX14" fmla="*/ 203082 w 2716213"/>
              <a:gd name="connsiteY14" fmla="*/ 1529464 h 2741612"/>
              <a:gd name="connsiteX15" fmla="*/ 368085 w 2716213"/>
              <a:gd name="connsiteY15" fmla="*/ 1320036 h 2741612"/>
              <a:gd name="connsiteX16" fmla="*/ 526742 w 2716213"/>
              <a:gd name="connsiteY16" fmla="*/ 1104261 h 2741612"/>
              <a:gd name="connsiteX17" fmla="*/ 558474 w 2716213"/>
              <a:gd name="connsiteY17" fmla="*/ 844061 h 2741612"/>
              <a:gd name="connsiteX18" fmla="*/ 456933 w 2716213"/>
              <a:gd name="connsiteY18" fmla="*/ 596555 h 2741612"/>
              <a:gd name="connsiteX19" fmla="*/ 0 w 2716213"/>
              <a:gd name="connsiteY19" fmla="*/ 0 h 2741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716213" h="2741612">
                <a:moveTo>
                  <a:pt x="0" y="0"/>
                </a:moveTo>
                <a:lnTo>
                  <a:pt x="2716213" y="0"/>
                </a:lnTo>
                <a:cubicBezTo>
                  <a:pt x="2716213" y="2741612"/>
                  <a:pt x="2716213" y="2741612"/>
                  <a:pt x="2716213" y="2741612"/>
                </a:cubicBezTo>
                <a:cubicBezTo>
                  <a:pt x="1821386" y="2741612"/>
                  <a:pt x="1821386" y="2741612"/>
                  <a:pt x="1821386" y="2741612"/>
                </a:cubicBezTo>
                <a:cubicBezTo>
                  <a:pt x="1827732" y="2652764"/>
                  <a:pt x="1821386" y="2557569"/>
                  <a:pt x="1808693" y="2468720"/>
                </a:cubicBezTo>
                <a:cubicBezTo>
                  <a:pt x="1796001" y="2373525"/>
                  <a:pt x="1764269" y="2291023"/>
                  <a:pt x="1707153" y="2221214"/>
                </a:cubicBezTo>
                <a:cubicBezTo>
                  <a:pt x="1656382" y="2151404"/>
                  <a:pt x="1580227" y="2094287"/>
                  <a:pt x="1497725" y="2062556"/>
                </a:cubicBezTo>
                <a:cubicBezTo>
                  <a:pt x="1415223" y="2030824"/>
                  <a:pt x="1326375" y="2018131"/>
                  <a:pt x="1237527" y="2030824"/>
                </a:cubicBezTo>
                <a:cubicBezTo>
                  <a:pt x="1186757" y="2037170"/>
                  <a:pt x="1142333" y="2043517"/>
                  <a:pt x="1104255" y="2062556"/>
                </a:cubicBezTo>
                <a:cubicBezTo>
                  <a:pt x="1059831" y="2081594"/>
                  <a:pt x="1021753" y="2100633"/>
                  <a:pt x="990022" y="2132365"/>
                </a:cubicBezTo>
                <a:cubicBezTo>
                  <a:pt x="920213" y="2183136"/>
                  <a:pt x="837711" y="2221214"/>
                  <a:pt x="742516" y="2233906"/>
                </a:cubicBezTo>
                <a:cubicBezTo>
                  <a:pt x="653668" y="2246599"/>
                  <a:pt x="564820" y="2227560"/>
                  <a:pt x="482318" y="2195828"/>
                </a:cubicBezTo>
                <a:cubicBezTo>
                  <a:pt x="399817" y="2164097"/>
                  <a:pt x="323661" y="2106980"/>
                  <a:pt x="272891" y="2037170"/>
                </a:cubicBezTo>
                <a:cubicBezTo>
                  <a:pt x="215774" y="1967361"/>
                  <a:pt x="184043" y="1884858"/>
                  <a:pt x="171350" y="1789664"/>
                </a:cubicBezTo>
                <a:cubicBezTo>
                  <a:pt x="158658" y="1700815"/>
                  <a:pt x="171350" y="1605620"/>
                  <a:pt x="203082" y="1529464"/>
                </a:cubicBezTo>
                <a:cubicBezTo>
                  <a:pt x="241159" y="1446962"/>
                  <a:pt x="291930" y="1370806"/>
                  <a:pt x="368085" y="1320036"/>
                </a:cubicBezTo>
                <a:cubicBezTo>
                  <a:pt x="437894" y="1262919"/>
                  <a:pt x="495011" y="1193109"/>
                  <a:pt x="526742" y="1104261"/>
                </a:cubicBezTo>
                <a:cubicBezTo>
                  <a:pt x="558474" y="1028105"/>
                  <a:pt x="571167" y="939256"/>
                  <a:pt x="558474" y="844061"/>
                </a:cubicBezTo>
                <a:cubicBezTo>
                  <a:pt x="552128" y="748866"/>
                  <a:pt x="514050" y="666364"/>
                  <a:pt x="456933" y="596555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1516204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Picture Placeholder 1026">
            <a:extLst>
              <a:ext uri="{FF2B5EF4-FFF2-40B4-BE49-F238E27FC236}">
                <a16:creationId xmlns:a16="http://schemas.microsoft.com/office/drawing/2014/main" id="{9A301015-C05B-1EA1-0EAE-127A1D8E1430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4217581" y="0"/>
            <a:ext cx="7974419" cy="6858000"/>
          </a:xfrm>
          <a:custGeom>
            <a:avLst/>
            <a:gdLst>
              <a:gd name="connsiteX0" fmla="*/ 0 w 1905000"/>
              <a:gd name="connsiteY0" fmla="*/ 0 h 1638300"/>
              <a:gd name="connsiteX1" fmla="*/ 1905000 w 1905000"/>
              <a:gd name="connsiteY1" fmla="*/ 0 h 1638300"/>
              <a:gd name="connsiteX2" fmla="*/ 1905000 w 1905000"/>
              <a:gd name="connsiteY2" fmla="*/ 1638300 h 1638300"/>
              <a:gd name="connsiteX3" fmla="*/ 1590656 w 1905000"/>
              <a:gd name="connsiteY3" fmla="*/ 1638300 h 1638300"/>
              <a:gd name="connsiteX4" fmla="*/ 1276312 w 1905000"/>
              <a:gd name="connsiteY4" fmla="*/ 1471436 h 1638300"/>
              <a:gd name="connsiteX5" fmla="*/ 1136183 w 1905000"/>
              <a:gd name="connsiteY5" fmla="*/ 1171840 h 1638300"/>
              <a:gd name="connsiteX6" fmla="*/ 314344 w 1905000"/>
              <a:gd name="connsiteY6" fmla="*/ 200995 h 1638300"/>
              <a:gd name="connsiteX7" fmla="*/ 45448 w 1905000"/>
              <a:gd name="connsiteY7" fmla="*/ 11377 h 1638300"/>
              <a:gd name="connsiteX8" fmla="*/ 0 w 1905000"/>
              <a:gd name="connsiteY8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05000" h="1638300">
                <a:moveTo>
                  <a:pt x="0" y="0"/>
                </a:moveTo>
                <a:lnTo>
                  <a:pt x="1905000" y="0"/>
                </a:lnTo>
                <a:cubicBezTo>
                  <a:pt x="1905000" y="0"/>
                  <a:pt x="1905000" y="0"/>
                  <a:pt x="1905000" y="1638300"/>
                </a:cubicBezTo>
                <a:cubicBezTo>
                  <a:pt x="1905000" y="1638300"/>
                  <a:pt x="1905000" y="1638300"/>
                  <a:pt x="1590656" y="1638300"/>
                </a:cubicBezTo>
                <a:cubicBezTo>
                  <a:pt x="1495974" y="1570038"/>
                  <a:pt x="1389931" y="1513152"/>
                  <a:pt x="1276312" y="1471436"/>
                </a:cubicBezTo>
                <a:cubicBezTo>
                  <a:pt x="1257376" y="1361458"/>
                  <a:pt x="1208141" y="1259064"/>
                  <a:pt x="1136183" y="1171840"/>
                </a:cubicBezTo>
                <a:cubicBezTo>
                  <a:pt x="1136183" y="1171840"/>
                  <a:pt x="1136183" y="1171840"/>
                  <a:pt x="314344" y="200995"/>
                </a:cubicBezTo>
                <a:cubicBezTo>
                  <a:pt x="242386" y="117563"/>
                  <a:pt x="151491" y="53093"/>
                  <a:pt x="45448" y="11377"/>
                </a:cubicBezTo>
                <a:cubicBezTo>
                  <a:pt x="30298" y="7585"/>
                  <a:pt x="15149" y="3792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8" name="Picture 7" descr="A red rectangular object with black border&#10;&#10;Description automatically generated">
            <a:extLst>
              <a:ext uri="{FF2B5EF4-FFF2-40B4-BE49-F238E27FC236}">
                <a16:creationId xmlns:a16="http://schemas.microsoft.com/office/drawing/2014/main" id="{ABFACA10-0B70-D0B7-6BBA-18036D767D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374" y="5790611"/>
            <a:ext cx="6419851" cy="10673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9548419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58D9B2D-42FA-997F-617F-AAE6DCA49E1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4788530" y="-1"/>
            <a:ext cx="7403470" cy="6858000"/>
          </a:xfrm>
          <a:custGeom>
            <a:avLst/>
            <a:gdLst>
              <a:gd name="connsiteX0" fmla="*/ 0 w 5041900"/>
              <a:gd name="connsiteY0" fmla="*/ 0 h 4670425"/>
              <a:gd name="connsiteX1" fmla="*/ 3971 w 5041900"/>
              <a:gd name="connsiteY1" fmla="*/ 0 h 4670425"/>
              <a:gd name="connsiteX2" fmla="*/ 13401 w 5041900"/>
              <a:gd name="connsiteY2" fmla="*/ 0 h 4670425"/>
              <a:gd name="connsiteX3" fmla="*/ 31765 w 5041900"/>
              <a:gd name="connsiteY3" fmla="*/ 0 h 4670425"/>
              <a:gd name="connsiteX4" fmla="*/ 62040 w 5041900"/>
              <a:gd name="connsiteY4" fmla="*/ 0 h 4670425"/>
              <a:gd name="connsiteX5" fmla="*/ 107205 w 5041900"/>
              <a:gd name="connsiteY5" fmla="*/ 0 h 4670425"/>
              <a:gd name="connsiteX6" fmla="*/ 170237 w 5041900"/>
              <a:gd name="connsiteY6" fmla="*/ 0 h 4670425"/>
              <a:gd name="connsiteX7" fmla="*/ 254115 w 5041900"/>
              <a:gd name="connsiteY7" fmla="*/ 0 h 4670425"/>
              <a:gd name="connsiteX8" fmla="*/ 361816 w 5041900"/>
              <a:gd name="connsiteY8" fmla="*/ 0 h 4670425"/>
              <a:gd name="connsiteX9" fmla="*/ 496318 w 5041900"/>
              <a:gd name="connsiteY9" fmla="*/ 0 h 4670425"/>
              <a:gd name="connsiteX10" fmla="*/ 574550 w 5041900"/>
              <a:gd name="connsiteY10" fmla="*/ 0 h 4670425"/>
              <a:gd name="connsiteX11" fmla="*/ 660600 w 5041900"/>
              <a:gd name="connsiteY11" fmla="*/ 0 h 4670425"/>
              <a:gd name="connsiteX12" fmla="*/ 754838 w 5041900"/>
              <a:gd name="connsiteY12" fmla="*/ 0 h 4670425"/>
              <a:gd name="connsiteX13" fmla="*/ 857638 w 5041900"/>
              <a:gd name="connsiteY13" fmla="*/ 0 h 4670425"/>
              <a:gd name="connsiteX14" fmla="*/ 969371 w 5041900"/>
              <a:gd name="connsiteY14" fmla="*/ 0 h 4670425"/>
              <a:gd name="connsiteX15" fmla="*/ 1090411 w 5041900"/>
              <a:gd name="connsiteY15" fmla="*/ 0 h 4670425"/>
              <a:gd name="connsiteX16" fmla="*/ 1221129 w 5041900"/>
              <a:gd name="connsiteY16" fmla="*/ 0 h 4670425"/>
              <a:gd name="connsiteX17" fmla="*/ 1361897 w 5041900"/>
              <a:gd name="connsiteY17" fmla="*/ 0 h 4670425"/>
              <a:gd name="connsiteX18" fmla="*/ 1513088 w 5041900"/>
              <a:gd name="connsiteY18" fmla="*/ 0 h 4670425"/>
              <a:gd name="connsiteX19" fmla="*/ 1675074 w 5041900"/>
              <a:gd name="connsiteY19" fmla="*/ 0 h 4670425"/>
              <a:gd name="connsiteX20" fmla="*/ 1848227 w 5041900"/>
              <a:gd name="connsiteY20" fmla="*/ 0 h 4670425"/>
              <a:gd name="connsiteX21" fmla="*/ 2032919 w 5041900"/>
              <a:gd name="connsiteY21" fmla="*/ 0 h 4670425"/>
              <a:gd name="connsiteX22" fmla="*/ 5041900 w 5041900"/>
              <a:gd name="connsiteY22" fmla="*/ 0 h 4670425"/>
              <a:gd name="connsiteX23" fmla="*/ 5041900 w 5041900"/>
              <a:gd name="connsiteY23" fmla="*/ 4670425 h 4670425"/>
              <a:gd name="connsiteX24" fmla="*/ 4839918 w 5041900"/>
              <a:gd name="connsiteY24" fmla="*/ 4579854 h 4670425"/>
              <a:gd name="connsiteX25" fmla="*/ 4669598 w 5041900"/>
              <a:gd name="connsiteY25" fmla="*/ 4456546 h 4670425"/>
              <a:gd name="connsiteX26" fmla="*/ 4617192 w 5041900"/>
              <a:gd name="connsiteY26" fmla="*/ 4408532 h 4670425"/>
              <a:gd name="connsiteX27" fmla="*/ 4445781 w 5041900"/>
              <a:gd name="connsiteY27" fmla="*/ 4185923 h 4670425"/>
              <a:gd name="connsiteX28" fmla="*/ 4338786 w 5041900"/>
              <a:gd name="connsiteY28" fmla="*/ 3926213 h 4670425"/>
              <a:gd name="connsiteX29" fmla="*/ 4301665 w 5041900"/>
              <a:gd name="connsiteY29" fmla="*/ 3647951 h 4670425"/>
              <a:gd name="connsiteX30" fmla="*/ 4301665 w 5041900"/>
              <a:gd name="connsiteY30" fmla="*/ 3646860 h 4670425"/>
              <a:gd name="connsiteX31" fmla="*/ 4264544 w 5041900"/>
              <a:gd name="connsiteY31" fmla="*/ 3368599 h 4670425"/>
              <a:gd name="connsiteX32" fmla="*/ 4157548 w 5041900"/>
              <a:gd name="connsiteY32" fmla="*/ 3108888 h 4670425"/>
              <a:gd name="connsiteX33" fmla="*/ 3986136 w 5041900"/>
              <a:gd name="connsiteY33" fmla="*/ 2887370 h 4670425"/>
              <a:gd name="connsiteX34" fmla="*/ 3763411 w 5041900"/>
              <a:gd name="connsiteY34" fmla="*/ 2716049 h 4670425"/>
              <a:gd name="connsiteX35" fmla="*/ 3504656 w 5041900"/>
              <a:gd name="connsiteY35" fmla="*/ 2608018 h 4670425"/>
              <a:gd name="connsiteX36" fmla="*/ 3226248 w 5041900"/>
              <a:gd name="connsiteY36" fmla="*/ 2572008 h 4670425"/>
              <a:gd name="connsiteX37" fmla="*/ 2947841 w 5041900"/>
              <a:gd name="connsiteY37" fmla="*/ 2609109 h 4670425"/>
              <a:gd name="connsiteX38" fmla="*/ 2687994 w 5041900"/>
              <a:gd name="connsiteY38" fmla="*/ 2714957 h 4670425"/>
              <a:gd name="connsiteX39" fmla="*/ 2428148 w 5041900"/>
              <a:gd name="connsiteY39" fmla="*/ 2821897 h 4670425"/>
              <a:gd name="connsiteX40" fmla="*/ 2149741 w 5041900"/>
              <a:gd name="connsiteY40" fmla="*/ 2858999 h 4670425"/>
              <a:gd name="connsiteX41" fmla="*/ 1870242 w 5041900"/>
              <a:gd name="connsiteY41" fmla="*/ 2822988 h 4670425"/>
              <a:gd name="connsiteX42" fmla="*/ 1611487 w 5041900"/>
              <a:gd name="connsiteY42" fmla="*/ 2714957 h 4670425"/>
              <a:gd name="connsiteX43" fmla="*/ 1441167 w 5041900"/>
              <a:gd name="connsiteY43" fmla="*/ 2592741 h 4670425"/>
              <a:gd name="connsiteX44" fmla="*/ 1388761 w 5041900"/>
              <a:gd name="connsiteY44" fmla="*/ 2543636 h 4670425"/>
              <a:gd name="connsiteX45" fmla="*/ 1217349 w 5041900"/>
              <a:gd name="connsiteY45" fmla="*/ 2322118 h 4670425"/>
              <a:gd name="connsiteX46" fmla="*/ 1151842 w 5041900"/>
              <a:gd name="connsiteY46" fmla="*/ 2209722 h 4670425"/>
              <a:gd name="connsiteX47" fmla="*/ 1045938 w 5041900"/>
              <a:gd name="connsiteY47" fmla="*/ 2025306 h 4670425"/>
              <a:gd name="connsiteX48" fmla="*/ 140841 w 5041900"/>
              <a:gd name="connsiteY48" fmla="*/ 458313 h 4670425"/>
              <a:gd name="connsiteX49" fmla="*/ 33846 w 5041900"/>
              <a:gd name="connsiteY49" fmla="*/ 198602 h 4670425"/>
              <a:gd name="connsiteX50" fmla="*/ 0 w 5041900"/>
              <a:gd name="connsiteY50" fmla="*/ 0 h 467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5041900" h="4670425">
                <a:moveTo>
                  <a:pt x="0" y="0"/>
                </a:moveTo>
                <a:lnTo>
                  <a:pt x="3971" y="0"/>
                </a:lnTo>
                <a:lnTo>
                  <a:pt x="13401" y="0"/>
                </a:lnTo>
                <a:lnTo>
                  <a:pt x="31765" y="0"/>
                </a:lnTo>
                <a:lnTo>
                  <a:pt x="62040" y="0"/>
                </a:lnTo>
                <a:lnTo>
                  <a:pt x="107205" y="0"/>
                </a:lnTo>
                <a:lnTo>
                  <a:pt x="170237" y="0"/>
                </a:lnTo>
                <a:lnTo>
                  <a:pt x="254115" y="0"/>
                </a:lnTo>
                <a:lnTo>
                  <a:pt x="361816" y="0"/>
                </a:lnTo>
                <a:lnTo>
                  <a:pt x="496318" y="0"/>
                </a:lnTo>
                <a:lnTo>
                  <a:pt x="574550" y="0"/>
                </a:lnTo>
                <a:lnTo>
                  <a:pt x="660600" y="0"/>
                </a:lnTo>
                <a:lnTo>
                  <a:pt x="754838" y="0"/>
                </a:lnTo>
                <a:lnTo>
                  <a:pt x="857638" y="0"/>
                </a:lnTo>
                <a:lnTo>
                  <a:pt x="969371" y="0"/>
                </a:lnTo>
                <a:lnTo>
                  <a:pt x="1090411" y="0"/>
                </a:lnTo>
                <a:lnTo>
                  <a:pt x="1221129" y="0"/>
                </a:lnTo>
                <a:lnTo>
                  <a:pt x="1361897" y="0"/>
                </a:lnTo>
                <a:lnTo>
                  <a:pt x="1513088" y="0"/>
                </a:lnTo>
                <a:lnTo>
                  <a:pt x="1675074" y="0"/>
                </a:lnTo>
                <a:lnTo>
                  <a:pt x="1848227" y="0"/>
                </a:lnTo>
                <a:lnTo>
                  <a:pt x="2032919" y="0"/>
                </a:lnTo>
                <a:lnTo>
                  <a:pt x="5041900" y="0"/>
                </a:lnTo>
                <a:cubicBezTo>
                  <a:pt x="5041900" y="0"/>
                  <a:pt x="5041900" y="0"/>
                  <a:pt x="5041900" y="4670425"/>
                </a:cubicBezTo>
                <a:cubicBezTo>
                  <a:pt x="4972025" y="4647510"/>
                  <a:pt x="4904334" y="4616955"/>
                  <a:pt x="4839918" y="4579854"/>
                </a:cubicBezTo>
                <a:cubicBezTo>
                  <a:pt x="4779870" y="4544935"/>
                  <a:pt x="4722004" y="4503468"/>
                  <a:pt x="4669598" y="4456546"/>
                </a:cubicBezTo>
                <a:cubicBezTo>
                  <a:pt x="4651038" y="4441269"/>
                  <a:pt x="4634661" y="4424901"/>
                  <a:pt x="4617192" y="4408532"/>
                </a:cubicBezTo>
                <a:cubicBezTo>
                  <a:pt x="4552777" y="4343059"/>
                  <a:pt x="4493820" y="4269947"/>
                  <a:pt x="4445781" y="4185923"/>
                </a:cubicBezTo>
                <a:cubicBezTo>
                  <a:pt x="4397742" y="4102990"/>
                  <a:pt x="4362805" y="4015693"/>
                  <a:pt x="4338786" y="3926213"/>
                </a:cubicBezTo>
                <a:cubicBezTo>
                  <a:pt x="4314766" y="3834550"/>
                  <a:pt x="4301665" y="3741796"/>
                  <a:pt x="4301665" y="3647951"/>
                </a:cubicBezTo>
                <a:cubicBezTo>
                  <a:pt x="4301665" y="3647951"/>
                  <a:pt x="4301665" y="3647951"/>
                  <a:pt x="4301665" y="3646860"/>
                </a:cubicBezTo>
                <a:cubicBezTo>
                  <a:pt x="4301665" y="3554106"/>
                  <a:pt x="4289655" y="3460261"/>
                  <a:pt x="4264544" y="3368599"/>
                </a:cubicBezTo>
                <a:cubicBezTo>
                  <a:pt x="4240524" y="3280210"/>
                  <a:pt x="4206679" y="3192912"/>
                  <a:pt x="4157548" y="3108888"/>
                </a:cubicBezTo>
                <a:cubicBezTo>
                  <a:pt x="4109509" y="3025955"/>
                  <a:pt x="4051644" y="2951752"/>
                  <a:pt x="3986136" y="2887370"/>
                </a:cubicBezTo>
                <a:cubicBezTo>
                  <a:pt x="3918445" y="2819715"/>
                  <a:pt x="3844203" y="2762971"/>
                  <a:pt x="3763411" y="2716049"/>
                </a:cubicBezTo>
                <a:cubicBezTo>
                  <a:pt x="3681526" y="2669126"/>
                  <a:pt x="3595274" y="2632025"/>
                  <a:pt x="3504656" y="2608018"/>
                </a:cubicBezTo>
                <a:cubicBezTo>
                  <a:pt x="3414037" y="2584011"/>
                  <a:pt x="3320143" y="2572008"/>
                  <a:pt x="3226248" y="2572008"/>
                </a:cubicBezTo>
                <a:cubicBezTo>
                  <a:pt x="3132354" y="2572008"/>
                  <a:pt x="3039552" y="2584011"/>
                  <a:pt x="2947841" y="2609109"/>
                </a:cubicBezTo>
                <a:cubicBezTo>
                  <a:pt x="2858314" y="2633116"/>
                  <a:pt x="2770971" y="2666944"/>
                  <a:pt x="2687994" y="2714957"/>
                </a:cubicBezTo>
                <a:cubicBezTo>
                  <a:pt x="2603926" y="2764062"/>
                  <a:pt x="2516583" y="2797890"/>
                  <a:pt x="2428148" y="2821897"/>
                </a:cubicBezTo>
                <a:cubicBezTo>
                  <a:pt x="2335345" y="2846995"/>
                  <a:pt x="2242543" y="2858999"/>
                  <a:pt x="2149741" y="2858999"/>
                </a:cubicBezTo>
                <a:cubicBezTo>
                  <a:pt x="2054755" y="2858999"/>
                  <a:pt x="1960860" y="2846995"/>
                  <a:pt x="1870242" y="2822988"/>
                </a:cubicBezTo>
                <a:cubicBezTo>
                  <a:pt x="1780715" y="2798981"/>
                  <a:pt x="1693371" y="2761880"/>
                  <a:pt x="1611487" y="2714957"/>
                </a:cubicBezTo>
                <a:cubicBezTo>
                  <a:pt x="1551438" y="2680038"/>
                  <a:pt x="1493573" y="2638572"/>
                  <a:pt x="1441167" y="2592741"/>
                </a:cubicBezTo>
                <a:cubicBezTo>
                  <a:pt x="1422606" y="2576372"/>
                  <a:pt x="1406230" y="2560004"/>
                  <a:pt x="1388761" y="2543636"/>
                </a:cubicBezTo>
                <a:cubicBezTo>
                  <a:pt x="1324345" y="2478163"/>
                  <a:pt x="1265388" y="2405051"/>
                  <a:pt x="1217349" y="2322118"/>
                </a:cubicBezTo>
                <a:cubicBezTo>
                  <a:pt x="1217349" y="2322118"/>
                  <a:pt x="1217349" y="2322118"/>
                  <a:pt x="1151842" y="2209722"/>
                </a:cubicBezTo>
                <a:cubicBezTo>
                  <a:pt x="1151842" y="2209722"/>
                  <a:pt x="1151842" y="2209722"/>
                  <a:pt x="1045938" y="2025306"/>
                </a:cubicBezTo>
                <a:cubicBezTo>
                  <a:pt x="1045938" y="2025306"/>
                  <a:pt x="1045938" y="2025306"/>
                  <a:pt x="140841" y="458313"/>
                </a:cubicBezTo>
                <a:cubicBezTo>
                  <a:pt x="92803" y="374289"/>
                  <a:pt x="57865" y="286991"/>
                  <a:pt x="33846" y="198602"/>
                </a:cubicBezTo>
                <a:cubicBezTo>
                  <a:pt x="16377" y="133129"/>
                  <a:pt x="5459" y="66565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7" y="1376363"/>
            <a:ext cx="4872135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34B5F6E-6317-9435-46BD-62DB6C82F4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1628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black and orange gradient&#10;&#10;Description automatically generated">
            <a:extLst>
              <a:ext uri="{FF2B5EF4-FFF2-40B4-BE49-F238E27FC236}">
                <a16:creationId xmlns:a16="http://schemas.microsoft.com/office/drawing/2014/main" id="{A6AA4749-61B2-63A3-82D8-182FAD3CB8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6535" y="5010151"/>
            <a:ext cx="3449872" cy="1851438"/>
          </a:xfrm>
          <a:prstGeom prst="rect">
            <a:avLst/>
          </a:prstGeom>
        </p:spPr>
      </p:pic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9AA06CCA-86AE-0B8A-BC6C-745E41B4A45B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397535" y="0"/>
            <a:ext cx="6794466" cy="6858000"/>
          </a:xfrm>
          <a:custGeom>
            <a:avLst/>
            <a:gdLst>
              <a:gd name="connsiteX0" fmla="*/ 0 w 2716213"/>
              <a:gd name="connsiteY0" fmla="*/ 0 h 2741612"/>
              <a:gd name="connsiteX1" fmla="*/ 2716213 w 2716213"/>
              <a:gd name="connsiteY1" fmla="*/ 0 h 2741612"/>
              <a:gd name="connsiteX2" fmla="*/ 2716213 w 2716213"/>
              <a:gd name="connsiteY2" fmla="*/ 2741612 h 2741612"/>
              <a:gd name="connsiteX3" fmla="*/ 1821386 w 2716213"/>
              <a:gd name="connsiteY3" fmla="*/ 2741612 h 2741612"/>
              <a:gd name="connsiteX4" fmla="*/ 1808693 w 2716213"/>
              <a:gd name="connsiteY4" fmla="*/ 2468720 h 2741612"/>
              <a:gd name="connsiteX5" fmla="*/ 1707153 w 2716213"/>
              <a:gd name="connsiteY5" fmla="*/ 2221214 h 2741612"/>
              <a:gd name="connsiteX6" fmla="*/ 1497725 w 2716213"/>
              <a:gd name="connsiteY6" fmla="*/ 2062556 h 2741612"/>
              <a:gd name="connsiteX7" fmla="*/ 1237527 w 2716213"/>
              <a:gd name="connsiteY7" fmla="*/ 2030824 h 2741612"/>
              <a:gd name="connsiteX8" fmla="*/ 1104255 w 2716213"/>
              <a:gd name="connsiteY8" fmla="*/ 2062556 h 2741612"/>
              <a:gd name="connsiteX9" fmla="*/ 990022 w 2716213"/>
              <a:gd name="connsiteY9" fmla="*/ 2132365 h 2741612"/>
              <a:gd name="connsiteX10" fmla="*/ 742516 w 2716213"/>
              <a:gd name="connsiteY10" fmla="*/ 2233906 h 2741612"/>
              <a:gd name="connsiteX11" fmla="*/ 482318 w 2716213"/>
              <a:gd name="connsiteY11" fmla="*/ 2195828 h 2741612"/>
              <a:gd name="connsiteX12" fmla="*/ 272891 w 2716213"/>
              <a:gd name="connsiteY12" fmla="*/ 2037170 h 2741612"/>
              <a:gd name="connsiteX13" fmla="*/ 171350 w 2716213"/>
              <a:gd name="connsiteY13" fmla="*/ 1789664 h 2741612"/>
              <a:gd name="connsiteX14" fmla="*/ 203082 w 2716213"/>
              <a:gd name="connsiteY14" fmla="*/ 1529464 h 2741612"/>
              <a:gd name="connsiteX15" fmla="*/ 368085 w 2716213"/>
              <a:gd name="connsiteY15" fmla="*/ 1320036 h 2741612"/>
              <a:gd name="connsiteX16" fmla="*/ 526742 w 2716213"/>
              <a:gd name="connsiteY16" fmla="*/ 1104261 h 2741612"/>
              <a:gd name="connsiteX17" fmla="*/ 558474 w 2716213"/>
              <a:gd name="connsiteY17" fmla="*/ 844061 h 2741612"/>
              <a:gd name="connsiteX18" fmla="*/ 456933 w 2716213"/>
              <a:gd name="connsiteY18" fmla="*/ 596555 h 2741612"/>
              <a:gd name="connsiteX19" fmla="*/ 0 w 2716213"/>
              <a:gd name="connsiteY19" fmla="*/ 0 h 2741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716213" h="2741612">
                <a:moveTo>
                  <a:pt x="0" y="0"/>
                </a:moveTo>
                <a:lnTo>
                  <a:pt x="2716213" y="0"/>
                </a:lnTo>
                <a:cubicBezTo>
                  <a:pt x="2716213" y="2741612"/>
                  <a:pt x="2716213" y="2741612"/>
                  <a:pt x="2716213" y="2741612"/>
                </a:cubicBezTo>
                <a:cubicBezTo>
                  <a:pt x="1821386" y="2741612"/>
                  <a:pt x="1821386" y="2741612"/>
                  <a:pt x="1821386" y="2741612"/>
                </a:cubicBezTo>
                <a:cubicBezTo>
                  <a:pt x="1827732" y="2652764"/>
                  <a:pt x="1821386" y="2557569"/>
                  <a:pt x="1808693" y="2468720"/>
                </a:cubicBezTo>
                <a:cubicBezTo>
                  <a:pt x="1796001" y="2373525"/>
                  <a:pt x="1764269" y="2291023"/>
                  <a:pt x="1707153" y="2221214"/>
                </a:cubicBezTo>
                <a:cubicBezTo>
                  <a:pt x="1656382" y="2151404"/>
                  <a:pt x="1580227" y="2094287"/>
                  <a:pt x="1497725" y="2062556"/>
                </a:cubicBezTo>
                <a:cubicBezTo>
                  <a:pt x="1415223" y="2030824"/>
                  <a:pt x="1326375" y="2018131"/>
                  <a:pt x="1237527" y="2030824"/>
                </a:cubicBezTo>
                <a:cubicBezTo>
                  <a:pt x="1186757" y="2037170"/>
                  <a:pt x="1142333" y="2043517"/>
                  <a:pt x="1104255" y="2062556"/>
                </a:cubicBezTo>
                <a:cubicBezTo>
                  <a:pt x="1059831" y="2081594"/>
                  <a:pt x="1021753" y="2100633"/>
                  <a:pt x="990022" y="2132365"/>
                </a:cubicBezTo>
                <a:cubicBezTo>
                  <a:pt x="920213" y="2183136"/>
                  <a:pt x="837711" y="2221214"/>
                  <a:pt x="742516" y="2233906"/>
                </a:cubicBezTo>
                <a:cubicBezTo>
                  <a:pt x="653668" y="2246599"/>
                  <a:pt x="564820" y="2227560"/>
                  <a:pt x="482318" y="2195828"/>
                </a:cubicBezTo>
                <a:cubicBezTo>
                  <a:pt x="399817" y="2164097"/>
                  <a:pt x="323661" y="2106980"/>
                  <a:pt x="272891" y="2037170"/>
                </a:cubicBezTo>
                <a:cubicBezTo>
                  <a:pt x="215774" y="1967361"/>
                  <a:pt x="184043" y="1884858"/>
                  <a:pt x="171350" y="1789664"/>
                </a:cubicBezTo>
                <a:cubicBezTo>
                  <a:pt x="158658" y="1700815"/>
                  <a:pt x="171350" y="1605620"/>
                  <a:pt x="203082" y="1529464"/>
                </a:cubicBezTo>
                <a:cubicBezTo>
                  <a:pt x="241159" y="1446962"/>
                  <a:pt x="291930" y="1370806"/>
                  <a:pt x="368085" y="1320036"/>
                </a:cubicBezTo>
                <a:cubicBezTo>
                  <a:pt x="437894" y="1262919"/>
                  <a:pt x="495011" y="1193109"/>
                  <a:pt x="526742" y="1104261"/>
                </a:cubicBezTo>
                <a:cubicBezTo>
                  <a:pt x="558474" y="1028105"/>
                  <a:pt x="571167" y="939256"/>
                  <a:pt x="558474" y="844061"/>
                </a:cubicBezTo>
                <a:cubicBezTo>
                  <a:pt x="552128" y="748866"/>
                  <a:pt x="514050" y="666364"/>
                  <a:pt x="456933" y="596555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09600"/>
            <a:ext cx="4578419" cy="809834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60442"/>
            <a:ext cx="4826896" cy="4140000"/>
          </a:xfrm>
        </p:spPr>
        <p:txBody>
          <a:bodyPr>
            <a:normAutofit/>
          </a:bodyPr>
          <a:lstStyle>
            <a:lvl1pPr marL="457200" indent="-457200">
              <a:spcBef>
                <a:spcPts val="1100"/>
              </a:spcBef>
              <a:buFont typeface="+mj-lt"/>
              <a:buAutoNum type="arabicPeriod"/>
              <a:defRPr b="0"/>
            </a:lvl1pPr>
            <a:lvl2pPr marL="432000" indent="-216000">
              <a:spcBef>
                <a:spcPts val="500"/>
              </a:spcBef>
              <a:buSzPct val="130000"/>
              <a:buFont typeface="Arial" panose="020B0604020202020204" pitchFamily="34" charset="0"/>
              <a:buChar char="•"/>
              <a:defRPr>
                <a:solidFill>
                  <a:srgbClr val="0460A9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44DA9E3-0DF9-BF88-D9B1-4721AAF2509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53987915"/>
      </p:ext>
    </p:extLst>
  </p:cSld>
  <p:clrMapOvr>
    <a:masterClrMapping/>
  </p:clrMapOvr>
  <p:hf sldNum="0"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275B0DD2-2428-54C9-49A8-458F94960B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09600"/>
            <a:ext cx="7364412" cy="809834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60443"/>
            <a:ext cx="7364412" cy="4140000"/>
          </a:xfrm>
        </p:spPr>
        <p:txBody>
          <a:bodyPr>
            <a:normAutofit/>
          </a:bodyPr>
          <a:lstStyle>
            <a:lvl1pPr marL="457200" indent="-457200">
              <a:spcBef>
                <a:spcPts val="1100"/>
              </a:spcBef>
              <a:buFont typeface="+mj-lt"/>
              <a:buAutoNum type="arabicPeriod"/>
              <a:defRPr b="0"/>
            </a:lvl1pPr>
            <a:lvl2pPr marL="432000" indent="-216000">
              <a:spcBef>
                <a:spcPts val="500"/>
              </a:spcBef>
              <a:buSzPct val="130000"/>
              <a:buFont typeface="Arial" panose="020B0604020202020204" pitchFamily="34" charset="0"/>
              <a:buChar char="•"/>
              <a:defRPr>
                <a:solidFill>
                  <a:srgbClr val="0460A9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8FA9A013-00C4-2F39-D19D-0771AAF80A3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81796993"/>
      </p:ext>
    </p:extLst>
  </p:cSld>
  <p:clrMapOvr>
    <a:masterClrMapping/>
  </p:clrMapOvr>
  <p:hf sldNum="0"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ue and pink circle with black background&#10;&#10;Description automatically generated">
            <a:extLst>
              <a:ext uri="{FF2B5EF4-FFF2-40B4-BE49-F238E27FC236}">
                <a16:creationId xmlns:a16="http://schemas.microsoft.com/office/drawing/2014/main" id="{9C0A6453-E4D5-CF55-0E8C-990D85B3B6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4001" y="0"/>
            <a:ext cx="43179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09600"/>
            <a:ext cx="7364412" cy="809834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60443"/>
            <a:ext cx="3960000" cy="3806687"/>
          </a:xfrm>
        </p:spPr>
        <p:txBody>
          <a:bodyPr spcCol="450000">
            <a:normAutofit/>
          </a:bodyPr>
          <a:lstStyle>
            <a:lvl1pPr marL="457200" indent="-457200">
              <a:spcBef>
                <a:spcPts val="1100"/>
              </a:spcBef>
              <a:buFont typeface="+mj-lt"/>
              <a:buAutoNum type="arabicPeriod"/>
              <a:defRPr b="0"/>
            </a:lvl1pPr>
            <a:lvl2pPr marL="432000" indent="-216000">
              <a:spcBef>
                <a:spcPts val="500"/>
              </a:spcBef>
              <a:buSzPct val="130000"/>
              <a:buFont typeface="Arial" panose="020B0604020202020204" pitchFamily="34" charset="0"/>
              <a:buChar char="•"/>
              <a:defRPr>
                <a:solidFill>
                  <a:srgbClr val="0460A9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8FA9A013-00C4-2F39-D19D-0771AAF80A3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3994C94-AE7A-32C4-6201-E544C5E18F65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169676" y="1560443"/>
            <a:ext cx="3960000" cy="3806687"/>
          </a:xfrm>
        </p:spPr>
        <p:txBody>
          <a:bodyPr spcCol="450000">
            <a:normAutofit/>
          </a:bodyPr>
          <a:lstStyle>
            <a:lvl1pPr marL="457200" indent="-457200">
              <a:spcBef>
                <a:spcPts val="1100"/>
              </a:spcBef>
              <a:buFont typeface="+mj-lt"/>
              <a:buAutoNum type="arabicPeriod"/>
              <a:defRPr b="0"/>
            </a:lvl1pPr>
            <a:lvl2pPr marL="432000" indent="-216000">
              <a:spcBef>
                <a:spcPts val="500"/>
              </a:spcBef>
              <a:buSzPct val="130000"/>
              <a:buFont typeface="Arial" panose="020B0604020202020204" pitchFamily="34" charset="0"/>
              <a:buChar char="•"/>
              <a:defRPr>
                <a:solidFill>
                  <a:srgbClr val="0460A9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22431070"/>
      </p:ext>
    </p:extLst>
  </p:cSld>
  <p:clrMapOvr>
    <a:masterClrMapping/>
  </p:clrMapOvr>
  <p:hf sldNum="0"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CCA893B-12FC-BEFE-9665-A9C624A56C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9267825" cy="4477931"/>
          </a:xfrm>
        </p:spPr>
        <p:txBody>
          <a:bodyPr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add footnote or delete text box</a:t>
            </a:r>
          </a:p>
          <a:p>
            <a:pPr lvl="1"/>
            <a:r>
              <a:rPr lang="en-US" noProof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8597275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5465762" cy="4477931"/>
          </a:xfrm>
        </p:spPr>
        <p:txBody>
          <a:bodyPr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4477931"/>
          </a:xfrm>
        </p:spPr>
        <p:txBody>
          <a:bodyPr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D219D62-CABA-69E2-E4EB-156330B182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add footnote or delete text box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3630F0D-3887-6D2F-5720-3333334C13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4283908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3562350" cy="447793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F11EDDC-1465-A78B-C3BD-A70D9121A33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1573619"/>
            <a:ext cx="3562350" cy="447793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73E3490-C5C2-7754-8FFF-150028EB9BC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1573619"/>
            <a:ext cx="3562350" cy="447793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14D0B233-2FE1-9855-6829-FEF22EE733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add footnote or delete text box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BF39D8E-4140-1FAB-7479-6231CA188B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627798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Full Wid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11168062" cy="4477931"/>
          </a:xfrm>
        </p:spPr>
        <p:txBody>
          <a:bodyPr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163FBBE-05C7-4083-A849-9413DA7CDD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759885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797C4475-552D-264A-A4E6-E6613B129D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9659188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2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 and a black background&#10;&#10;Description automatically generated">
            <a:extLst>
              <a:ext uri="{FF2B5EF4-FFF2-40B4-BE49-F238E27FC236}">
                <a16:creationId xmlns:a16="http://schemas.microsoft.com/office/drawing/2014/main" id="{86B6FA02-ECA3-BA26-3F96-186B4A3BE4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0500" y="0"/>
            <a:ext cx="43815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347313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3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 and circle shapes&#10;&#10;Description automatically generated with medium confidence">
            <a:extLst>
              <a:ext uri="{FF2B5EF4-FFF2-40B4-BE49-F238E27FC236}">
                <a16:creationId xmlns:a16="http://schemas.microsoft.com/office/drawing/2014/main" id="{9B53DC61-E9DE-3047-B6D1-237E56DAF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3026006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6D5242C-C72E-8261-18FB-71780E1AA0D7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038111" y="-1"/>
            <a:ext cx="6153889" cy="6858000"/>
          </a:xfrm>
          <a:custGeom>
            <a:avLst/>
            <a:gdLst>
              <a:gd name="connsiteX0" fmla="*/ 1923952 w 4481513"/>
              <a:gd name="connsiteY0" fmla="*/ 0 h 4994275"/>
              <a:gd name="connsiteX1" fmla="*/ 4481513 w 4481513"/>
              <a:gd name="connsiteY1" fmla="*/ 0 h 4994275"/>
              <a:gd name="connsiteX2" fmla="*/ 4481513 w 4481513"/>
              <a:gd name="connsiteY2" fmla="*/ 2295979 h 4994275"/>
              <a:gd name="connsiteX3" fmla="*/ 4480357 w 4481513"/>
              <a:gd name="connsiteY3" fmla="*/ 2297135 h 4994275"/>
              <a:gd name="connsiteX4" fmla="*/ 4478045 w 4481513"/>
              <a:gd name="connsiteY4" fmla="*/ 2299448 h 4994275"/>
              <a:gd name="connsiteX5" fmla="*/ 4459545 w 4481513"/>
              <a:gd name="connsiteY5" fmla="*/ 2313321 h 4994275"/>
              <a:gd name="connsiteX6" fmla="*/ 4454920 w 4481513"/>
              <a:gd name="connsiteY6" fmla="*/ 2316789 h 4994275"/>
              <a:gd name="connsiteX7" fmla="*/ 4435264 w 4481513"/>
              <a:gd name="connsiteY7" fmla="*/ 2330662 h 4994275"/>
              <a:gd name="connsiteX8" fmla="*/ 4430640 w 4481513"/>
              <a:gd name="connsiteY8" fmla="*/ 2334130 h 4994275"/>
              <a:gd name="connsiteX9" fmla="*/ 4412140 w 4481513"/>
              <a:gd name="connsiteY9" fmla="*/ 2346847 h 4994275"/>
              <a:gd name="connsiteX10" fmla="*/ 4409828 w 4481513"/>
              <a:gd name="connsiteY10" fmla="*/ 2349159 h 4994275"/>
              <a:gd name="connsiteX11" fmla="*/ 4387859 w 4481513"/>
              <a:gd name="connsiteY11" fmla="*/ 2363032 h 4994275"/>
              <a:gd name="connsiteX12" fmla="*/ 4383234 w 4481513"/>
              <a:gd name="connsiteY12" fmla="*/ 2365344 h 4994275"/>
              <a:gd name="connsiteX13" fmla="*/ 4361266 w 4481513"/>
              <a:gd name="connsiteY13" fmla="*/ 2379217 h 4994275"/>
              <a:gd name="connsiteX14" fmla="*/ 4149678 w 4481513"/>
              <a:gd name="connsiteY14" fmla="*/ 2465923 h 4994275"/>
              <a:gd name="connsiteX15" fmla="*/ 3921902 w 4481513"/>
              <a:gd name="connsiteY15" fmla="*/ 2497138 h 4994275"/>
              <a:gd name="connsiteX16" fmla="*/ 3743844 w 4481513"/>
              <a:gd name="connsiteY16" fmla="*/ 2515635 h 4994275"/>
              <a:gd name="connsiteX17" fmla="*/ 3694127 w 4481513"/>
              <a:gd name="connsiteY17" fmla="*/ 2528352 h 4994275"/>
              <a:gd name="connsiteX18" fmla="*/ 3622441 w 4481513"/>
              <a:gd name="connsiteY18" fmla="*/ 2550317 h 4994275"/>
              <a:gd name="connsiteX19" fmla="*/ 3482538 w 4481513"/>
              <a:gd name="connsiteY19" fmla="*/ 2615058 h 4994275"/>
              <a:gd name="connsiteX20" fmla="*/ 3369228 w 4481513"/>
              <a:gd name="connsiteY20" fmla="*/ 2693672 h 4994275"/>
              <a:gd name="connsiteX21" fmla="*/ 3299855 w 4481513"/>
              <a:gd name="connsiteY21" fmla="*/ 2754944 h 4994275"/>
              <a:gd name="connsiteX22" fmla="*/ 3236263 w 4481513"/>
              <a:gd name="connsiteY22" fmla="*/ 2826621 h 4994275"/>
              <a:gd name="connsiteX23" fmla="*/ 3161109 w 4481513"/>
              <a:gd name="connsiteY23" fmla="*/ 2936449 h 4994275"/>
              <a:gd name="connsiteX24" fmla="*/ 3099829 w 4481513"/>
              <a:gd name="connsiteY24" fmla="*/ 3065930 h 4994275"/>
              <a:gd name="connsiteX25" fmla="*/ 3097516 w 4481513"/>
              <a:gd name="connsiteY25" fmla="*/ 3071710 h 4994275"/>
              <a:gd name="connsiteX26" fmla="*/ 3087110 w 4481513"/>
              <a:gd name="connsiteY26" fmla="*/ 3102925 h 4994275"/>
              <a:gd name="connsiteX27" fmla="*/ 3073236 w 4481513"/>
              <a:gd name="connsiteY27" fmla="*/ 3149168 h 4994275"/>
              <a:gd name="connsiteX28" fmla="*/ 3043174 w 4481513"/>
              <a:gd name="connsiteY28" fmla="*/ 3375760 h 4994275"/>
              <a:gd name="connsiteX29" fmla="*/ 3073236 w 4481513"/>
              <a:gd name="connsiteY29" fmla="*/ 3603508 h 4994275"/>
              <a:gd name="connsiteX30" fmla="*/ 3098673 w 4481513"/>
              <a:gd name="connsiteY30" fmla="*/ 3680966 h 4994275"/>
              <a:gd name="connsiteX31" fmla="*/ 3155328 w 4481513"/>
              <a:gd name="connsiteY31" fmla="*/ 3805823 h 4994275"/>
              <a:gd name="connsiteX32" fmla="*/ 3161109 w 4481513"/>
              <a:gd name="connsiteY32" fmla="*/ 3815071 h 4994275"/>
              <a:gd name="connsiteX33" fmla="*/ 3161109 w 4481513"/>
              <a:gd name="connsiteY33" fmla="*/ 3816227 h 4994275"/>
              <a:gd name="connsiteX34" fmla="*/ 3248981 w 4481513"/>
              <a:gd name="connsiteY34" fmla="*/ 4028947 h 4994275"/>
              <a:gd name="connsiteX35" fmla="*/ 3279043 w 4481513"/>
              <a:gd name="connsiteY35" fmla="*/ 4255539 h 4994275"/>
              <a:gd name="connsiteX36" fmla="*/ 3255919 w 4481513"/>
              <a:gd name="connsiteY36" fmla="*/ 4454385 h 4994275"/>
              <a:gd name="connsiteX37" fmla="*/ 3248981 w 4481513"/>
              <a:gd name="connsiteY37" fmla="*/ 4483287 h 4994275"/>
              <a:gd name="connsiteX38" fmla="*/ 3244357 w 4481513"/>
              <a:gd name="connsiteY38" fmla="*/ 4498316 h 4994275"/>
              <a:gd name="connsiteX39" fmla="*/ 3231638 w 4481513"/>
              <a:gd name="connsiteY39" fmla="*/ 4538779 h 4994275"/>
              <a:gd name="connsiteX40" fmla="*/ 3198108 w 4481513"/>
              <a:gd name="connsiteY40" fmla="*/ 4624329 h 4994275"/>
              <a:gd name="connsiteX41" fmla="*/ 3174983 w 4481513"/>
              <a:gd name="connsiteY41" fmla="*/ 4669416 h 4994275"/>
              <a:gd name="connsiteX42" fmla="*/ 3161109 w 4481513"/>
              <a:gd name="connsiteY42" fmla="*/ 4694850 h 4994275"/>
              <a:gd name="connsiteX43" fmla="*/ 3022362 w 4481513"/>
              <a:gd name="connsiteY43" fmla="*/ 4877511 h 4994275"/>
              <a:gd name="connsiteX44" fmla="*/ 3002706 w 4481513"/>
              <a:gd name="connsiteY44" fmla="*/ 4896008 h 4994275"/>
              <a:gd name="connsiteX45" fmla="*/ 2996925 w 4481513"/>
              <a:gd name="connsiteY45" fmla="*/ 4900633 h 4994275"/>
              <a:gd name="connsiteX46" fmla="*/ 2983051 w 4481513"/>
              <a:gd name="connsiteY46" fmla="*/ 4913349 h 4994275"/>
              <a:gd name="connsiteX47" fmla="*/ 2976113 w 4481513"/>
              <a:gd name="connsiteY47" fmla="*/ 4919130 h 4994275"/>
              <a:gd name="connsiteX48" fmla="*/ 2962239 w 4481513"/>
              <a:gd name="connsiteY48" fmla="*/ 4930691 h 4994275"/>
              <a:gd name="connsiteX49" fmla="*/ 2955301 w 4481513"/>
              <a:gd name="connsiteY49" fmla="*/ 4936471 h 4994275"/>
              <a:gd name="connsiteX50" fmla="*/ 2939114 w 4481513"/>
              <a:gd name="connsiteY50" fmla="*/ 4949188 h 4994275"/>
              <a:gd name="connsiteX51" fmla="*/ 2934489 w 4481513"/>
              <a:gd name="connsiteY51" fmla="*/ 4952656 h 4994275"/>
              <a:gd name="connsiteX52" fmla="*/ 2913677 w 4481513"/>
              <a:gd name="connsiteY52" fmla="*/ 4968841 h 4994275"/>
              <a:gd name="connsiteX53" fmla="*/ 2907896 w 4481513"/>
              <a:gd name="connsiteY53" fmla="*/ 4972310 h 4994275"/>
              <a:gd name="connsiteX54" fmla="*/ 2891709 w 4481513"/>
              <a:gd name="connsiteY54" fmla="*/ 4983871 h 4994275"/>
              <a:gd name="connsiteX55" fmla="*/ 2883616 w 4481513"/>
              <a:gd name="connsiteY55" fmla="*/ 4989651 h 4994275"/>
              <a:gd name="connsiteX56" fmla="*/ 2875522 w 4481513"/>
              <a:gd name="connsiteY56" fmla="*/ 4994275 h 4994275"/>
              <a:gd name="connsiteX57" fmla="*/ 1922796 w 4481513"/>
              <a:gd name="connsiteY57" fmla="*/ 4994275 h 4994275"/>
              <a:gd name="connsiteX58" fmla="*/ 957351 w 4481513"/>
              <a:gd name="connsiteY58" fmla="*/ 4435888 h 4994275"/>
              <a:gd name="connsiteX59" fmla="*/ 440520 w 4481513"/>
              <a:gd name="connsiteY59" fmla="*/ 4136462 h 4994275"/>
              <a:gd name="connsiteX60" fmla="*/ 439364 w 4481513"/>
              <a:gd name="connsiteY60" fmla="*/ 4136462 h 4994275"/>
              <a:gd name="connsiteX61" fmla="*/ 343398 w 4481513"/>
              <a:gd name="connsiteY61" fmla="*/ 4072878 h 4994275"/>
              <a:gd name="connsiteX62" fmla="*/ 257837 w 4481513"/>
              <a:gd name="connsiteY62" fmla="*/ 3997732 h 4994275"/>
              <a:gd name="connsiteX63" fmla="*/ 182683 w 4481513"/>
              <a:gd name="connsiteY63" fmla="*/ 3912182 h 4994275"/>
              <a:gd name="connsiteX64" fmla="*/ 120247 w 4481513"/>
              <a:gd name="connsiteY64" fmla="*/ 3819696 h 4994275"/>
              <a:gd name="connsiteX65" fmla="*/ 117935 w 4481513"/>
              <a:gd name="connsiteY65" fmla="*/ 3815071 h 4994275"/>
              <a:gd name="connsiteX66" fmla="*/ 114466 w 4481513"/>
              <a:gd name="connsiteY66" fmla="*/ 3806979 h 4994275"/>
              <a:gd name="connsiteX67" fmla="*/ 53186 w 4481513"/>
              <a:gd name="connsiteY67" fmla="*/ 3675185 h 4994275"/>
              <a:gd name="connsiteX68" fmla="*/ 31218 w 4481513"/>
              <a:gd name="connsiteY68" fmla="*/ 3603508 h 4994275"/>
              <a:gd name="connsiteX69" fmla="*/ 0 w 4481513"/>
              <a:gd name="connsiteY69" fmla="*/ 3375760 h 4994275"/>
              <a:gd name="connsiteX70" fmla="*/ 31218 w 4481513"/>
              <a:gd name="connsiteY70" fmla="*/ 3149168 h 4994275"/>
              <a:gd name="connsiteX71" fmla="*/ 47405 w 4481513"/>
              <a:gd name="connsiteY71" fmla="*/ 3093676 h 4994275"/>
              <a:gd name="connsiteX72" fmla="*/ 94810 w 4481513"/>
              <a:gd name="connsiteY72" fmla="*/ 2980380 h 4994275"/>
              <a:gd name="connsiteX73" fmla="*/ 117935 w 4481513"/>
              <a:gd name="connsiteY73" fmla="*/ 2936449 h 4994275"/>
              <a:gd name="connsiteX74" fmla="*/ 119091 w 4481513"/>
              <a:gd name="connsiteY74" fmla="*/ 2936449 h 4994275"/>
              <a:gd name="connsiteX75" fmla="*/ 117935 w 4481513"/>
              <a:gd name="connsiteY75" fmla="*/ 2935293 h 4994275"/>
              <a:gd name="connsiteX76" fmla="*/ 124872 w 4481513"/>
              <a:gd name="connsiteY76" fmla="*/ 2924888 h 4994275"/>
              <a:gd name="connsiteX77" fmla="*/ 178058 w 4481513"/>
              <a:gd name="connsiteY77" fmla="*/ 2809280 h 4994275"/>
              <a:gd name="connsiteX78" fmla="*/ 205807 w 4481513"/>
              <a:gd name="connsiteY78" fmla="*/ 2723730 h 4994275"/>
              <a:gd name="connsiteX79" fmla="*/ 218526 w 4481513"/>
              <a:gd name="connsiteY79" fmla="*/ 2671706 h 4994275"/>
              <a:gd name="connsiteX80" fmla="*/ 237025 w 4481513"/>
              <a:gd name="connsiteY80" fmla="*/ 2495982 h 4994275"/>
              <a:gd name="connsiteX81" fmla="*/ 216213 w 4481513"/>
              <a:gd name="connsiteY81" fmla="*/ 2313321 h 4994275"/>
              <a:gd name="connsiteX82" fmla="*/ 205807 w 4481513"/>
              <a:gd name="connsiteY82" fmla="*/ 2269389 h 4994275"/>
              <a:gd name="connsiteX83" fmla="*/ 197714 w 4481513"/>
              <a:gd name="connsiteY83" fmla="*/ 2240487 h 4994275"/>
              <a:gd name="connsiteX84" fmla="*/ 117935 w 4481513"/>
              <a:gd name="connsiteY84" fmla="*/ 2057826 h 4994275"/>
              <a:gd name="connsiteX85" fmla="*/ 31218 w 4481513"/>
              <a:gd name="connsiteY85" fmla="*/ 1845107 h 4994275"/>
              <a:gd name="connsiteX86" fmla="*/ 0 w 4481513"/>
              <a:gd name="connsiteY86" fmla="*/ 1618515 h 4994275"/>
              <a:gd name="connsiteX87" fmla="*/ 31218 w 4481513"/>
              <a:gd name="connsiteY87" fmla="*/ 1390767 h 4994275"/>
              <a:gd name="connsiteX88" fmla="*/ 47405 w 4481513"/>
              <a:gd name="connsiteY88" fmla="*/ 1335275 h 4994275"/>
              <a:gd name="connsiteX89" fmla="*/ 117935 w 4481513"/>
              <a:gd name="connsiteY89" fmla="*/ 1179204 h 4994275"/>
              <a:gd name="connsiteX90" fmla="*/ 128341 w 4481513"/>
              <a:gd name="connsiteY90" fmla="*/ 1163019 h 4994275"/>
              <a:gd name="connsiteX91" fmla="*/ 205807 w 4481513"/>
              <a:gd name="connsiteY91" fmla="*/ 1053191 h 4994275"/>
              <a:gd name="connsiteX92" fmla="*/ 257837 w 4481513"/>
              <a:gd name="connsiteY92" fmla="*/ 996543 h 4994275"/>
              <a:gd name="connsiteX93" fmla="*/ 439364 w 4481513"/>
              <a:gd name="connsiteY93" fmla="*/ 857813 h 4994275"/>
              <a:gd name="connsiteX94" fmla="*/ 1923952 w 4481513"/>
              <a:gd name="connsiteY94" fmla="*/ 0 h 4994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4481513" h="4994275">
                <a:moveTo>
                  <a:pt x="1923952" y="0"/>
                </a:moveTo>
                <a:cubicBezTo>
                  <a:pt x="1923952" y="0"/>
                  <a:pt x="1923952" y="0"/>
                  <a:pt x="4481513" y="0"/>
                </a:cubicBezTo>
                <a:cubicBezTo>
                  <a:pt x="4481513" y="0"/>
                  <a:pt x="4481513" y="0"/>
                  <a:pt x="4481513" y="2295979"/>
                </a:cubicBezTo>
                <a:cubicBezTo>
                  <a:pt x="4481513" y="2295979"/>
                  <a:pt x="4480357" y="2295979"/>
                  <a:pt x="4480357" y="2297135"/>
                </a:cubicBezTo>
                <a:cubicBezTo>
                  <a:pt x="4479201" y="2297135"/>
                  <a:pt x="4478045" y="2298291"/>
                  <a:pt x="4478045" y="2299448"/>
                </a:cubicBezTo>
                <a:cubicBezTo>
                  <a:pt x="4471107" y="2304072"/>
                  <a:pt x="4465326" y="2308696"/>
                  <a:pt x="4459545" y="2313321"/>
                </a:cubicBezTo>
                <a:cubicBezTo>
                  <a:pt x="4458389" y="2314477"/>
                  <a:pt x="4457233" y="2315633"/>
                  <a:pt x="4454920" y="2316789"/>
                </a:cubicBezTo>
                <a:cubicBezTo>
                  <a:pt x="4449139" y="2321413"/>
                  <a:pt x="4442202" y="2326037"/>
                  <a:pt x="4435264" y="2330662"/>
                </a:cubicBezTo>
                <a:cubicBezTo>
                  <a:pt x="4434108" y="2331818"/>
                  <a:pt x="4432952" y="2332974"/>
                  <a:pt x="4430640" y="2334130"/>
                </a:cubicBezTo>
                <a:cubicBezTo>
                  <a:pt x="4424858" y="2338754"/>
                  <a:pt x="4419077" y="2342223"/>
                  <a:pt x="4412140" y="2346847"/>
                </a:cubicBezTo>
                <a:cubicBezTo>
                  <a:pt x="4410984" y="2348003"/>
                  <a:pt x="4409828" y="2348003"/>
                  <a:pt x="4409828" y="2349159"/>
                </a:cubicBezTo>
                <a:cubicBezTo>
                  <a:pt x="4401734" y="2353783"/>
                  <a:pt x="4394797" y="2358408"/>
                  <a:pt x="4387859" y="2363032"/>
                </a:cubicBezTo>
                <a:cubicBezTo>
                  <a:pt x="4386703" y="2363032"/>
                  <a:pt x="4384391" y="2364188"/>
                  <a:pt x="4383234" y="2365344"/>
                </a:cubicBezTo>
                <a:cubicBezTo>
                  <a:pt x="4376297" y="2369969"/>
                  <a:pt x="4368204" y="2374593"/>
                  <a:pt x="4361266" y="2379217"/>
                </a:cubicBezTo>
                <a:cubicBezTo>
                  <a:pt x="4295362" y="2417368"/>
                  <a:pt x="4224832" y="2446270"/>
                  <a:pt x="4149678" y="2465923"/>
                </a:cubicBezTo>
                <a:cubicBezTo>
                  <a:pt x="4076836" y="2485577"/>
                  <a:pt x="4000525" y="2497138"/>
                  <a:pt x="3921902" y="2497138"/>
                </a:cubicBezTo>
                <a:cubicBezTo>
                  <a:pt x="3860622" y="2497138"/>
                  <a:pt x="3801655" y="2504074"/>
                  <a:pt x="3743844" y="2515635"/>
                </a:cubicBezTo>
                <a:cubicBezTo>
                  <a:pt x="3727657" y="2519103"/>
                  <a:pt x="3710314" y="2523728"/>
                  <a:pt x="3694127" y="2528352"/>
                </a:cubicBezTo>
                <a:cubicBezTo>
                  <a:pt x="3669846" y="2534132"/>
                  <a:pt x="3645565" y="2542225"/>
                  <a:pt x="3622441" y="2550317"/>
                </a:cubicBezTo>
                <a:cubicBezTo>
                  <a:pt x="3573880" y="2568815"/>
                  <a:pt x="3526474" y="2589624"/>
                  <a:pt x="3482538" y="2615058"/>
                </a:cubicBezTo>
                <a:cubicBezTo>
                  <a:pt x="3443227" y="2638180"/>
                  <a:pt x="3405071" y="2664770"/>
                  <a:pt x="3369228" y="2693672"/>
                </a:cubicBezTo>
                <a:cubicBezTo>
                  <a:pt x="3344948" y="2712169"/>
                  <a:pt x="3321823" y="2732978"/>
                  <a:pt x="3299855" y="2754944"/>
                </a:cubicBezTo>
                <a:cubicBezTo>
                  <a:pt x="3277887" y="2776910"/>
                  <a:pt x="3255919" y="2801187"/>
                  <a:pt x="3236263" y="2826621"/>
                </a:cubicBezTo>
                <a:cubicBezTo>
                  <a:pt x="3208514" y="2861304"/>
                  <a:pt x="3183077" y="2898298"/>
                  <a:pt x="3161109" y="2936449"/>
                </a:cubicBezTo>
                <a:cubicBezTo>
                  <a:pt x="3137984" y="2978068"/>
                  <a:pt x="3117172" y="3020843"/>
                  <a:pt x="3099829" y="3065930"/>
                </a:cubicBezTo>
                <a:cubicBezTo>
                  <a:pt x="3099829" y="3067086"/>
                  <a:pt x="3098673" y="3069398"/>
                  <a:pt x="3097516" y="3071710"/>
                </a:cubicBezTo>
                <a:cubicBezTo>
                  <a:pt x="3094048" y="3082115"/>
                  <a:pt x="3090579" y="3092520"/>
                  <a:pt x="3087110" y="3102925"/>
                </a:cubicBezTo>
                <a:cubicBezTo>
                  <a:pt x="3082486" y="3117954"/>
                  <a:pt x="3077861" y="3132983"/>
                  <a:pt x="3073236" y="3149168"/>
                </a:cubicBezTo>
                <a:cubicBezTo>
                  <a:pt x="3053580" y="3222001"/>
                  <a:pt x="3043174" y="3297146"/>
                  <a:pt x="3043174" y="3375760"/>
                </a:cubicBezTo>
                <a:cubicBezTo>
                  <a:pt x="3043174" y="3454374"/>
                  <a:pt x="3053580" y="3530675"/>
                  <a:pt x="3073236" y="3603508"/>
                </a:cubicBezTo>
                <a:cubicBezTo>
                  <a:pt x="3080173" y="3630098"/>
                  <a:pt x="3089423" y="3655532"/>
                  <a:pt x="3098673" y="3680966"/>
                </a:cubicBezTo>
                <a:cubicBezTo>
                  <a:pt x="3113704" y="3723741"/>
                  <a:pt x="3133359" y="3765360"/>
                  <a:pt x="3155328" y="3805823"/>
                </a:cubicBezTo>
                <a:cubicBezTo>
                  <a:pt x="3157640" y="3808135"/>
                  <a:pt x="3158796" y="3811603"/>
                  <a:pt x="3161109" y="3815071"/>
                </a:cubicBezTo>
                <a:cubicBezTo>
                  <a:pt x="3161109" y="3815071"/>
                  <a:pt x="3161109" y="3815071"/>
                  <a:pt x="3161109" y="3816227"/>
                </a:cubicBezTo>
                <a:cubicBezTo>
                  <a:pt x="3199264" y="3882124"/>
                  <a:pt x="3228169" y="3953801"/>
                  <a:pt x="3248981" y="4028947"/>
                </a:cubicBezTo>
                <a:cubicBezTo>
                  <a:pt x="3268637" y="4100624"/>
                  <a:pt x="3279043" y="4176925"/>
                  <a:pt x="3279043" y="4255539"/>
                </a:cubicBezTo>
                <a:cubicBezTo>
                  <a:pt x="3279043" y="4323748"/>
                  <a:pt x="3270950" y="4390800"/>
                  <a:pt x="3255919" y="4454385"/>
                </a:cubicBezTo>
                <a:cubicBezTo>
                  <a:pt x="3253606" y="4463634"/>
                  <a:pt x="3251294" y="4474038"/>
                  <a:pt x="3248981" y="4483287"/>
                </a:cubicBezTo>
                <a:cubicBezTo>
                  <a:pt x="3247825" y="4487911"/>
                  <a:pt x="3245513" y="4492536"/>
                  <a:pt x="3244357" y="4498316"/>
                </a:cubicBezTo>
                <a:cubicBezTo>
                  <a:pt x="3240888" y="4511033"/>
                  <a:pt x="3236263" y="4524906"/>
                  <a:pt x="3231638" y="4538779"/>
                </a:cubicBezTo>
                <a:cubicBezTo>
                  <a:pt x="3222388" y="4567681"/>
                  <a:pt x="3210826" y="4596583"/>
                  <a:pt x="3198108" y="4624329"/>
                </a:cubicBezTo>
                <a:cubicBezTo>
                  <a:pt x="3191170" y="4639358"/>
                  <a:pt x="3183077" y="4654387"/>
                  <a:pt x="3174983" y="4669416"/>
                </a:cubicBezTo>
                <a:cubicBezTo>
                  <a:pt x="3170358" y="4677509"/>
                  <a:pt x="3165734" y="4686757"/>
                  <a:pt x="3161109" y="4694850"/>
                </a:cubicBezTo>
                <a:cubicBezTo>
                  <a:pt x="3122953" y="4761903"/>
                  <a:pt x="3076704" y="4823175"/>
                  <a:pt x="3022362" y="4877511"/>
                </a:cubicBezTo>
                <a:cubicBezTo>
                  <a:pt x="3015425" y="4883291"/>
                  <a:pt x="3009644" y="4889072"/>
                  <a:pt x="3002706" y="4896008"/>
                </a:cubicBezTo>
                <a:cubicBezTo>
                  <a:pt x="3001550" y="4897164"/>
                  <a:pt x="2999238" y="4899477"/>
                  <a:pt x="2996925" y="4900633"/>
                </a:cubicBezTo>
                <a:cubicBezTo>
                  <a:pt x="2992300" y="4905257"/>
                  <a:pt x="2987675" y="4909881"/>
                  <a:pt x="2983051" y="4913349"/>
                </a:cubicBezTo>
                <a:cubicBezTo>
                  <a:pt x="2980738" y="4915662"/>
                  <a:pt x="2978426" y="4917974"/>
                  <a:pt x="2976113" y="4919130"/>
                </a:cubicBezTo>
                <a:cubicBezTo>
                  <a:pt x="2971488" y="4923754"/>
                  <a:pt x="2966863" y="4927222"/>
                  <a:pt x="2962239" y="4930691"/>
                </a:cubicBezTo>
                <a:cubicBezTo>
                  <a:pt x="2959926" y="4933003"/>
                  <a:pt x="2957614" y="4935315"/>
                  <a:pt x="2955301" y="4936471"/>
                </a:cubicBezTo>
                <a:cubicBezTo>
                  <a:pt x="2950676" y="4941095"/>
                  <a:pt x="2944895" y="4945720"/>
                  <a:pt x="2939114" y="4949188"/>
                </a:cubicBezTo>
                <a:cubicBezTo>
                  <a:pt x="2937958" y="4950344"/>
                  <a:pt x="2936802" y="4951500"/>
                  <a:pt x="2934489" y="4952656"/>
                </a:cubicBezTo>
                <a:cubicBezTo>
                  <a:pt x="2927552" y="4958437"/>
                  <a:pt x="2920615" y="4964217"/>
                  <a:pt x="2913677" y="4968841"/>
                </a:cubicBezTo>
                <a:cubicBezTo>
                  <a:pt x="2911365" y="4969998"/>
                  <a:pt x="2910209" y="4971154"/>
                  <a:pt x="2907896" y="4972310"/>
                </a:cubicBezTo>
                <a:cubicBezTo>
                  <a:pt x="2902115" y="4976934"/>
                  <a:pt x="2897490" y="4980402"/>
                  <a:pt x="2891709" y="4983871"/>
                </a:cubicBezTo>
                <a:cubicBezTo>
                  <a:pt x="2889397" y="4986183"/>
                  <a:pt x="2885928" y="4987339"/>
                  <a:pt x="2883616" y="4989651"/>
                </a:cubicBezTo>
                <a:cubicBezTo>
                  <a:pt x="2881303" y="4990807"/>
                  <a:pt x="2877834" y="4993119"/>
                  <a:pt x="2875522" y="4994275"/>
                </a:cubicBezTo>
                <a:cubicBezTo>
                  <a:pt x="2875522" y="4994275"/>
                  <a:pt x="2875522" y="4994275"/>
                  <a:pt x="1922796" y="4994275"/>
                </a:cubicBezTo>
                <a:cubicBezTo>
                  <a:pt x="1922796" y="4994275"/>
                  <a:pt x="1922796" y="4994275"/>
                  <a:pt x="957351" y="4435888"/>
                </a:cubicBezTo>
                <a:cubicBezTo>
                  <a:pt x="957351" y="4435888"/>
                  <a:pt x="957351" y="4435888"/>
                  <a:pt x="440520" y="4136462"/>
                </a:cubicBezTo>
                <a:cubicBezTo>
                  <a:pt x="439364" y="4136462"/>
                  <a:pt x="439364" y="4136462"/>
                  <a:pt x="439364" y="4136462"/>
                </a:cubicBezTo>
                <a:cubicBezTo>
                  <a:pt x="406990" y="4117965"/>
                  <a:pt x="374616" y="4095999"/>
                  <a:pt x="343398" y="4072878"/>
                </a:cubicBezTo>
                <a:cubicBezTo>
                  <a:pt x="313336" y="4049756"/>
                  <a:pt x="284431" y="4024322"/>
                  <a:pt x="257837" y="3997732"/>
                </a:cubicBezTo>
                <a:cubicBezTo>
                  <a:pt x="231244" y="3971142"/>
                  <a:pt x="205807" y="3942240"/>
                  <a:pt x="182683" y="3912182"/>
                </a:cubicBezTo>
                <a:cubicBezTo>
                  <a:pt x="160715" y="3882124"/>
                  <a:pt x="139903" y="3852066"/>
                  <a:pt x="120247" y="3819696"/>
                </a:cubicBezTo>
                <a:cubicBezTo>
                  <a:pt x="120247" y="3817383"/>
                  <a:pt x="119091" y="3816227"/>
                  <a:pt x="117935" y="3815071"/>
                </a:cubicBezTo>
                <a:cubicBezTo>
                  <a:pt x="116778" y="3812759"/>
                  <a:pt x="115622" y="3810447"/>
                  <a:pt x="114466" y="3806979"/>
                </a:cubicBezTo>
                <a:cubicBezTo>
                  <a:pt x="90185" y="3765360"/>
                  <a:pt x="70530" y="3721429"/>
                  <a:pt x="53186" y="3675185"/>
                </a:cubicBezTo>
                <a:cubicBezTo>
                  <a:pt x="45093" y="3652064"/>
                  <a:pt x="36999" y="3627786"/>
                  <a:pt x="31218" y="3603508"/>
                </a:cubicBezTo>
                <a:cubicBezTo>
                  <a:pt x="11562" y="3530675"/>
                  <a:pt x="0" y="3454374"/>
                  <a:pt x="0" y="3375760"/>
                </a:cubicBezTo>
                <a:cubicBezTo>
                  <a:pt x="0" y="3297146"/>
                  <a:pt x="11562" y="3222001"/>
                  <a:pt x="31218" y="3149168"/>
                </a:cubicBezTo>
                <a:cubicBezTo>
                  <a:pt x="35843" y="3129515"/>
                  <a:pt x="41624" y="3111017"/>
                  <a:pt x="47405" y="3093676"/>
                </a:cubicBezTo>
                <a:cubicBezTo>
                  <a:pt x="61280" y="3054369"/>
                  <a:pt x="76311" y="3017375"/>
                  <a:pt x="94810" y="2980380"/>
                </a:cubicBezTo>
                <a:cubicBezTo>
                  <a:pt x="101748" y="2966507"/>
                  <a:pt x="109841" y="2951478"/>
                  <a:pt x="117935" y="2936449"/>
                </a:cubicBezTo>
                <a:cubicBezTo>
                  <a:pt x="117935" y="2936449"/>
                  <a:pt x="119091" y="2936449"/>
                  <a:pt x="119091" y="2936449"/>
                </a:cubicBezTo>
                <a:cubicBezTo>
                  <a:pt x="119091" y="2936449"/>
                  <a:pt x="119091" y="2936449"/>
                  <a:pt x="117935" y="2935293"/>
                </a:cubicBezTo>
                <a:cubicBezTo>
                  <a:pt x="120247" y="2931825"/>
                  <a:pt x="122560" y="2928356"/>
                  <a:pt x="124872" y="2924888"/>
                </a:cubicBezTo>
                <a:cubicBezTo>
                  <a:pt x="144528" y="2887893"/>
                  <a:pt x="163027" y="2849743"/>
                  <a:pt x="178058" y="2809280"/>
                </a:cubicBezTo>
                <a:cubicBezTo>
                  <a:pt x="188464" y="2781534"/>
                  <a:pt x="197714" y="2752632"/>
                  <a:pt x="205807" y="2723730"/>
                </a:cubicBezTo>
                <a:cubicBezTo>
                  <a:pt x="210432" y="2706388"/>
                  <a:pt x="215057" y="2689047"/>
                  <a:pt x="218526" y="2671706"/>
                </a:cubicBezTo>
                <a:cubicBezTo>
                  <a:pt x="230088" y="2615058"/>
                  <a:pt x="237025" y="2556098"/>
                  <a:pt x="237025" y="2495982"/>
                </a:cubicBezTo>
                <a:cubicBezTo>
                  <a:pt x="237025" y="2433553"/>
                  <a:pt x="228932" y="2372281"/>
                  <a:pt x="216213" y="2313321"/>
                </a:cubicBezTo>
                <a:cubicBezTo>
                  <a:pt x="213901" y="2298291"/>
                  <a:pt x="209276" y="2283262"/>
                  <a:pt x="205807" y="2269389"/>
                </a:cubicBezTo>
                <a:cubicBezTo>
                  <a:pt x="203495" y="2260141"/>
                  <a:pt x="201183" y="2249736"/>
                  <a:pt x="197714" y="2240487"/>
                </a:cubicBezTo>
                <a:cubicBezTo>
                  <a:pt x="178058" y="2175747"/>
                  <a:pt x="151465" y="2114474"/>
                  <a:pt x="117935" y="2057826"/>
                </a:cubicBezTo>
                <a:cubicBezTo>
                  <a:pt x="79779" y="1991930"/>
                  <a:pt x="50874" y="1920253"/>
                  <a:pt x="31218" y="1845107"/>
                </a:cubicBezTo>
                <a:cubicBezTo>
                  <a:pt x="11562" y="1772274"/>
                  <a:pt x="0" y="1697129"/>
                  <a:pt x="0" y="1618515"/>
                </a:cubicBezTo>
                <a:cubicBezTo>
                  <a:pt x="0" y="1539902"/>
                  <a:pt x="11562" y="1463600"/>
                  <a:pt x="31218" y="1390767"/>
                </a:cubicBezTo>
                <a:cubicBezTo>
                  <a:pt x="35843" y="1372270"/>
                  <a:pt x="41624" y="1353772"/>
                  <a:pt x="47405" y="1335275"/>
                </a:cubicBezTo>
                <a:cubicBezTo>
                  <a:pt x="65905" y="1280939"/>
                  <a:pt x="90185" y="1227759"/>
                  <a:pt x="117935" y="1179204"/>
                </a:cubicBezTo>
                <a:cubicBezTo>
                  <a:pt x="121403" y="1173424"/>
                  <a:pt x="124872" y="1168799"/>
                  <a:pt x="128341" y="1163019"/>
                </a:cubicBezTo>
                <a:cubicBezTo>
                  <a:pt x="151465" y="1124868"/>
                  <a:pt x="176902" y="1087874"/>
                  <a:pt x="205807" y="1053191"/>
                </a:cubicBezTo>
                <a:cubicBezTo>
                  <a:pt x="221995" y="1033538"/>
                  <a:pt x="239338" y="1015040"/>
                  <a:pt x="257837" y="996543"/>
                </a:cubicBezTo>
                <a:cubicBezTo>
                  <a:pt x="311024" y="942207"/>
                  <a:pt x="373460" y="895964"/>
                  <a:pt x="439364" y="857813"/>
                </a:cubicBezTo>
                <a:cubicBezTo>
                  <a:pt x="439364" y="857813"/>
                  <a:pt x="439364" y="857813"/>
                  <a:pt x="1923952" y="0"/>
                </a:cubicBezTo>
                <a:close/>
              </a:path>
            </a:pathLst>
          </a:custGeom>
        </p:spPr>
        <p:txBody>
          <a:bodyPr wrap="square" tIns="72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7" y="1376363"/>
            <a:ext cx="4966403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96640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CA186A2-012F-D7DF-41D3-E1027FE9BE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07114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4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s on a black background&#10;&#10;Description automatically generated">
            <a:extLst>
              <a:ext uri="{FF2B5EF4-FFF2-40B4-BE49-F238E27FC236}">
                <a16:creationId xmlns:a16="http://schemas.microsoft.com/office/drawing/2014/main" id="{E5CBFECC-BB8C-E07A-6D60-DFF6584C47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9500" y="0"/>
            <a:ext cx="47625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9773018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" name="Picture Placeholder 1043">
            <a:extLst>
              <a:ext uri="{FF2B5EF4-FFF2-40B4-BE49-F238E27FC236}">
                <a16:creationId xmlns:a16="http://schemas.microsoft.com/office/drawing/2014/main" id="{3AF085D9-69D8-9C08-D85F-EAC08C542F7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00676" y="0"/>
            <a:ext cx="6791324" cy="6858000"/>
          </a:xfrm>
          <a:custGeom>
            <a:avLst/>
            <a:gdLst>
              <a:gd name="connsiteX0" fmla="*/ 2156795 w 3442824"/>
              <a:gd name="connsiteY0" fmla="*/ 0 h 3476625"/>
              <a:gd name="connsiteX1" fmla="*/ 3442824 w 3442824"/>
              <a:gd name="connsiteY1" fmla="*/ 0 h 3476625"/>
              <a:gd name="connsiteX2" fmla="*/ 3442824 w 3442824"/>
              <a:gd name="connsiteY2" fmla="*/ 3476625 h 3476625"/>
              <a:gd name="connsiteX3" fmla="*/ 0 w 3442824"/>
              <a:gd name="connsiteY3" fmla="*/ 3476625 h 3476625"/>
              <a:gd name="connsiteX4" fmla="*/ 117497 w 3442824"/>
              <a:gd name="connsiteY4" fmla="*/ 3067800 h 3476625"/>
              <a:gd name="connsiteX5" fmla="*/ 877204 w 3442824"/>
              <a:gd name="connsiteY5" fmla="*/ 2628393 h 3476625"/>
              <a:gd name="connsiteX6" fmla="*/ 1636911 w 3442824"/>
              <a:gd name="connsiteY6" fmla="*/ 2190596 h 3476625"/>
              <a:gd name="connsiteX7" fmla="*/ 1636911 w 3442824"/>
              <a:gd name="connsiteY7" fmla="*/ 1311782 h 3476625"/>
              <a:gd name="connsiteX8" fmla="*/ 1636911 w 3442824"/>
              <a:gd name="connsiteY8" fmla="*/ 434578 h 3476625"/>
              <a:gd name="connsiteX9" fmla="*/ 1958821 w 3442824"/>
              <a:gd name="connsiteY9" fmla="*/ 114278 h 3476625"/>
              <a:gd name="connsiteX10" fmla="*/ 2156795 w 3442824"/>
              <a:gd name="connsiteY10" fmla="*/ 0 h 3476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442824" h="3476625">
                <a:moveTo>
                  <a:pt x="2156795" y="0"/>
                </a:moveTo>
                <a:cubicBezTo>
                  <a:pt x="2156795" y="0"/>
                  <a:pt x="2156795" y="0"/>
                  <a:pt x="3442824" y="0"/>
                </a:cubicBezTo>
                <a:cubicBezTo>
                  <a:pt x="3442824" y="0"/>
                  <a:pt x="3442824" y="0"/>
                  <a:pt x="3442824" y="3476625"/>
                </a:cubicBezTo>
                <a:lnTo>
                  <a:pt x="0" y="3476625"/>
                </a:lnTo>
                <a:cubicBezTo>
                  <a:pt x="4829" y="3334985"/>
                  <a:pt x="45067" y="3193345"/>
                  <a:pt x="117497" y="3067800"/>
                </a:cubicBezTo>
                <a:cubicBezTo>
                  <a:pt x="275233" y="2795786"/>
                  <a:pt x="563342" y="2628393"/>
                  <a:pt x="877204" y="2628393"/>
                </a:cubicBezTo>
                <a:cubicBezTo>
                  <a:pt x="1191066" y="2628393"/>
                  <a:pt x="1480785" y="2461000"/>
                  <a:pt x="1636911" y="2190596"/>
                </a:cubicBezTo>
                <a:cubicBezTo>
                  <a:pt x="1794647" y="1918582"/>
                  <a:pt x="1794647" y="1583796"/>
                  <a:pt x="1636911" y="1311782"/>
                </a:cubicBezTo>
                <a:cubicBezTo>
                  <a:pt x="1480785" y="1041378"/>
                  <a:pt x="1480785" y="706592"/>
                  <a:pt x="1636911" y="434578"/>
                </a:cubicBezTo>
                <a:cubicBezTo>
                  <a:pt x="1715779" y="299376"/>
                  <a:pt x="1826838" y="189927"/>
                  <a:pt x="1958821" y="114278"/>
                </a:cubicBezTo>
                <a:cubicBezTo>
                  <a:pt x="1958821" y="114278"/>
                  <a:pt x="1958821" y="114278"/>
                  <a:pt x="2156795" y="0"/>
                </a:cubicBezTo>
                <a:close/>
              </a:path>
            </a:pathLst>
          </a:custGeom>
        </p:spPr>
        <p:txBody>
          <a:bodyPr wrap="square" tIns="57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2242008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2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33E8073-942E-24AC-8397-5E93C0860D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67351" y="0"/>
            <a:ext cx="6724650" cy="6864344"/>
          </a:xfrm>
          <a:custGeom>
            <a:avLst/>
            <a:gdLst>
              <a:gd name="connsiteX0" fmla="*/ 1381768 w 3687363"/>
              <a:gd name="connsiteY0" fmla="*/ 0 h 3763962"/>
              <a:gd name="connsiteX1" fmla="*/ 3687363 w 3687363"/>
              <a:gd name="connsiteY1" fmla="*/ 0 h 3763962"/>
              <a:gd name="connsiteX2" fmla="*/ 3687363 w 3687363"/>
              <a:gd name="connsiteY2" fmla="*/ 3763962 h 3763962"/>
              <a:gd name="connsiteX3" fmla="*/ 179303 w 3687363"/>
              <a:gd name="connsiteY3" fmla="*/ 3763962 h 3763962"/>
              <a:gd name="connsiteX4" fmla="*/ 177560 w 3687363"/>
              <a:gd name="connsiteY4" fmla="*/ 3762220 h 3763962"/>
              <a:gd name="connsiteX5" fmla="*/ 85197 w 3687363"/>
              <a:gd name="connsiteY5" fmla="*/ 2816001 h 3763962"/>
              <a:gd name="connsiteX6" fmla="*/ 857214 w 3687363"/>
              <a:gd name="connsiteY6" fmla="*/ 2263605 h 3763962"/>
              <a:gd name="connsiteX7" fmla="*/ 1629232 w 3687363"/>
              <a:gd name="connsiteY7" fmla="*/ 1709466 h 3763962"/>
              <a:gd name="connsiteX8" fmla="*/ 1535126 w 3687363"/>
              <a:gd name="connsiteY8" fmla="*/ 764991 h 3763962"/>
              <a:gd name="connsiteX9" fmla="*/ 1381768 w 3687363"/>
              <a:gd name="connsiteY9" fmla="*/ 0 h 3763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87363" h="3763962">
                <a:moveTo>
                  <a:pt x="1381768" y="0"/>
                </a:moveTo>
                <a:cubicBezTo>
                  <a:pt x="1381768" y="0"/>
                  <a:pt x="1381768" y="0"/>
                  <a:pt x="3687363" y="0"/>
                </a:cubicBezTo>
                <a:lnTo>
                  <a:pt x="3687363" y="3763962"/>
                </a:lnTo>
                <a:cubicBezTo>
                  <a:pt x="3687363" y="3763962"/>
                  <a:pt x="3687363" y="3763962"/>
                  <a:pt x="179303" y="3763962"/>
                </a:cubicBezTo>
                <a:cubicBezTo>
                  <a:pt x="179303" y="3762220"/>
                  <a:pt x="177560" y="3762220"/>
                  <a:pt x="177560" y="3762220"/>
                </a:cubicBezTo>
                <a:cubicBezTo>
                  <a:pt x="-19365" y="3485150"/>
                  <a:pt x="-55962" y="3124437"/>
                  <a:pt x="85197" y="2816001"/>
                </a:cubicBezTo>
                <a:cubicBezTo>
                  <a:pt x="224613" y="2507566"/>
                  <a:pt x="519130" y="2296714"/>
                  <a:pt x="857214" y="2263605"/>
                </a:cubicBezTo>
                <a:cubicBezTo>
                  <a:pt x="1195299" y="2228754"/>
                  <a:pt x="1488073" y="2017902"/>
                  <a:pt x="1629232" y="1709466"/>
                </a:cubicBezTo>
                <a:cubicBezTo>
                  <a:pt x="1768648" y="1401030"/>
                  <a:pt x="1733794" y="1040317"/>
                  <a:pt x="1535126" y="764991"/>
                </a:cubicBezTo>
                <a:cubicBezTo>
                  <a:pt x="1374797" y="540198"/>
                  <a:pt x="1322516" y="261386"/>
                  <a:pt x="1381768" y="0"/>
                </a:cubicBezTo>
                <a:close/>
              </a:path>
            </a:pathLst>
          </a:custGeom>
        </p:spPr>
        <p:txBody>
          <a:bodyPr wrap="square" tIns="57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7355054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3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9C75056C-318D-5182-7DFA-238419FA663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10313" y="-1"/>
            <a:ext cx="5881687" cy="6863427"/>
          </a:xfrm>
          <a:custGeom>
            <a:avLst/>
            <a:gdLst>
              <a:gd name="connsiteX0" fmla="*/ 142382 w 3512411"/>
              <a:gd name="connsiteY0" fmla="*/ 0 h 4098684"/>
              <a:gd name="connsiteX1" fmla="*/ 3512411 w 3512411"/>
              <a:gd name="connsiteY1" fmla="*/ 0 h 4098684"/>
              <a:gd name="connsiteX2" fmla="*/ 3512411 w 3512411"/>
              <a:gd name="connsiteY2" fmla="*/ 4098684 h 4098684"/>
              <a:gd name="connsiteX3" fmla="*/ 2125310 w 3512411"/>
              <a:gd name="connsiteY3" fmla="*/ 4098684 h 4098684"/>
              <a:gd name="connsiteX4" fmla="*/ 451681 w 3512411"/>
              <a:gd name="connsiteY4" fmla="*/ 2652759 h 4098684"/>
              <a:gd name="connsiteX5" fmla="*/ 142382 w 3512411"/>
              <a:gd name="connsiteY5" fmla="*/ 0 h 4098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12411" h="4098684">
                <a:moveTo>
                  <a:pt x="142382" y="0"/>
                </a:moveTo>
                <a:cubicBezTo>
                  <a:pt x="142382" y="0"/>
                  <a:pt x="142382" y="0"/>
                  <a:pt x="3512411" y="0"/>
                </a:cubicBezTo>
                <a:cubicBezTo>
                  <a:pt x="3512411" y="0"/>
                  <a:pt x="3512411" y="0"/>
                  <a:pt x="3512411" y="4098684"/>
                </a:cubicBezTo>
                <a:cubicBezTo>
                  <a:pt x="3512411" y="4098684"/>
                  <a:pt x="3512411" y="4098684"/>
                  <a:pt x="2125310" y="4098684"/>
                </a:cubicBezTo>
                <a:cubicBezTo>
                  <a:pt x="1430811" y="3823541"/>
                  <a:pt x="836881" y="3318796"/>
                  <a:pt x="451681" y="2652759"/>
                </a:cubicBezTo>
                <a:cubicBezTo>
                  <a:pt x="-18909" y="1838715"/>
                  <a:pt x="-121376" y="878561"/>
                  <a:pt x="142382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2103884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4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FE5B621D-69A8-D558-4755-2528B084DCF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09303" y="0"/>
            <a:ext cx="6582697" cy="6858000"/>
          </a:xfrm>
          <a:custGeom>
            <a:avLst/>
            <a:gdLst>
              <a:gd name="connsiteX0" fmla="*/ 0 w 4251325"/>
              <a:gd name="connsiteY0" fmla="*/ 0 h 4429125"/>
              <a:gd name="connsiteX1" fmla="*/ 4251325 w 4251325"/>
              <a:gd name="connsiteY1" fmla="*/ 0 h 4429125"/>
              <a:gd name="connsiteX2" fmla="*/ 4251325 w 4251325"/>
              <a:gd name="connsiteY2" fmla="*/ 4429125 h 4429125"/>
              <a:gd name="connsiteX3" fmla="*/ 1002845 w 4251325"/>
              <a:gd name="connsiteY3" fmla="*/ 4429125 h 4429125"/>
              <a:gd name="connsiteX4" fmla="*/ 1019252 w 4251325"/>
              <a:gd name="connsiteY4" fmla="*/ 3834474 h 4429125"/>
              <a:gd name="connsiteX5" fmla="*/ 1837524 w 4251325"/>
              <a:gd name="connsiteY5" fmla="*/ 3077832 h 4429125"/>
              <a:gd name="connsiteX6" fmla="*/ 2655796 w 4251325"/>
              <a:gd name="connsiteY6" fmla="*/ 2323240 h 4429125"/>
              <a:gd name="connsiteX7" fmla="*/ 2409700 w 4251325"/>
              <a:gd name="connsiteY7" fmla="*/ 1236464 h 4429125"/>
              <a:gd name="connsiteX8" fmla="*/ 1345330 w 4251325"/>
              <a:gd name="connsiteY8" fmla="*/ 906330 h 4429125"/>
              <a:gd name="connsiteX9" fmla="*/ 280961 w 4251325"/>
              <a:gd name="connsiteY9" fmla="*/ 576196 h 4429125"/>
              <a:gd name="connsiteX10" fmla="*/ 0 w 4251325"/>
              <a:gd name="connsiteY10" fmla="*/ 0 h 4429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251325" h="4429125">
                <a:moveTo>
                  <a:pt x="0" y="0"/>
                </a:moveTo>
                <a:cubicBezTo>
                  <a:pt x="0" y="0"/>
                  <a:pt x="0" y="0"/>
                  <a:pt x="4251325" y="0"/>
                </a:cubicBezTo>
                <a:cubicBezTo>
                  <a:pt x="4251325" y="0"/>
                  <a:pt x="4251325" y="0"/>
                  <a:pt x="4251325" y="4429125"/>
                </a:cubicBezTo>
                <a:cubicBezTo>
                  <a:pt x="4251325" y="4429125"/>
                  <a:pt x="4251325" y="4429125"/>
                  <a:pt x="1002845" y="4429125"/>
                </a:cubicBezTo>
                <a:cubicBezTo>
                  <a:pt x="953626" y="4236376"/>
                  <a:pt x="957728" y="4031324"/>
                  <a:pt x="1019252" y="3834474"/>
                </a:cubicBezTo>
                <a:cubicBezTo>
                  <a:pt x="1138199" y="3455128"/>
                  <a:pt x="1449921" y="3166004"/>
                  <a:pt x="1837524" y="3077832"/>
                </a:cubicBezTo>
                <a:cubicBezTo>
                  <a:pt x="2225127" y="2989660"/>
                  <a:pt x="2536850" y="2702587"/>
                  <a:pt x="2655796" y="2323240"/>
                </a:cubicBezTo>
                <a:cubicBezTo>
                  <a:pt x="2772693" y="1941843"/>
                  <a:pt x="2678355" y="1527638"/>
                  <a:pt x="2409700" y="1236464"/>
                </a:cubicBezTo>
                <a:cubicBezTo>
                  <a:pt x="2138993" y="945290"/>
                  <a:pt x="1732933" y="818158"/>
                  <a:pt x="1345330" y="906330"/>
                </a:cubicBezTo>
                <a:cubicBezTo>
                  <a:pt x="957728" y="994503"/>
                  <a:pt x="551668" y="869421"/>
                  <a:pt x="280961" y="576196"/>
                </a:cubicBezTo>
                <a:cubicBezTo>
                  <a:pt x="131252" y="414205"/>
                  <a:pt x="34864" y="213254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5048485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5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D6F452B3-D14F-5BED-3898-8D8D3B9846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47203" y="0"/>
            <a:ext cx="6044798" cy="6858000"/>
          </a:xfrm>
          <a:custGeom>
            <a:avLst/>
            <a:gdLst>
              <a:gd name="connsiteX0" fmla="*/ 720997 w 4611957"/>
              <a:gd name="connsiteY0" fmla="*/ 0 h 5232400"/>
              <a:gd name="connsiteX1" fmla="*/ 4611957 w 4611957"/>
              <a:gd name="connsiteY1" fmla="*/ 0 h 5232400"/>
              <a:gd name="connsiteX2" fmla="*/ 4611957 w 4611957"/>
              <a:gd name="connsiteY2" fmla="*/ 5232400 h 5232400"/>
              <a:gd name="connsiteX3" fmla="*/ 1329111 w 4611957"/>
              <a:gd name="connsiteY3" fmla="*/ 5232400 h 5232400"/>
              <a:gd name="connsiteX4" fmla="*/ 476298 w 4611957"/>
              <a:gd name="connsiteY4" fmla="*/ 4469342 h 5232400"/>
              <a:gd name="connsiteX5" fmla="*/ 71696 w 4611957"/>
              <a:gd name="connsiteY5" fmla="*/ 3851628 h 5232400"/>
              <a:gd name="connsiteX6" fmla="*/ 30509 w 4611957"/>
              <a:gd name="connsiteY6" fmla="*/ 3112794 h 5232400"/>
              <a:gd name="connsiteX7" fmla="*/ 611973 w 4611957"/>
              <a:gd name="connsiteY7" fmla="*/ 322180 h 5232400"/>
              <a:gd name="connsiteX8" fmla="*/ 720997 w 4611957"/>
              <a:gd name="connsiteY8" fmla="*/ 0 h 523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1957" h="5232400">
                <a:moveTo>
                  <a:pt x="720997" y="0"/>
                </a:moveTo>
                <a:cubicBezTo>
                  <a:pt x="720997" y="0"/>
                  <a:pt x="720997" y="0"/>
                  <a:pt x="4611957" y="0"/>
                </a:cubicBezTo>
                <a:lnTo>
                  <a:pt x="4611957" y="5232400"/>
                </a:lnTo>
                <a:cubicBezTo>
                  <a:pt x="4611957" y="5232400"/>
                  <a:pt x="4611957" y="5232400"/>
                  <a:pt x="1329111" y="5232400"/>
                </a:cubicBezTo>
                <a:cubicBezTo>
                  <a:pt x="1329111" y="5232400"/>
                  <a:pt x="1329111" y="5232400"/>
                  <a:pt x="476298" y="4469342"/>
                </a:cubicBezTo>
                <a:cubicBezTo>
                  <a:pt x="292168" y="4304618"/>
                  <a:pt x="151647" y="4093869"/>
                  <a:pt x="71696" y="3851628"/>
                </a:cubicBezTo>
                <a:cubicBezTo>
                  <a:pt x="-8255" y="3609387"/>
                  <a:pt x="-20369" y="3355034"/>
                  <a:pt x="30509" y="3112794"/>
                </a:cubicBezTo>
                <a:cubicBezTo>
                  <a:pt x="30509" y="3112794"/>
                  <a:pt x="30509" y="3112794"/>
                  <a:pt x="611973" y="322180"/>
                </a:cubicBezTo>
                <a:cubicBezTo>
                  <a:pt x="636200" y="210750"/>
                  <a:pt x="672542" y="101741"/>
                  <a:pt x="720997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71408"/>
            <a:ext cx="5040000" cy="1145401"/>
          </a:xfrm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84591"/>
            <a:ext cx="5040000" cy="777910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E6BBC6-4CC2-A65A-176C-CB76BE218F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8571384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Image [R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and orange gradient&#10;&#10;Description automatically generated">
            <a:extLst>
              <a:ext uri="{FF2B5EF4-FFF2-40B4-BE49-F238E27FC236}">
                <a16:creationId xmlns:a16="http://schemas.microsoft.com/office/drawing/2014/main" id="{BB08B6D7-9DFB-0B5A-72BD-AF8D4B6782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8310" y="4267245"/>
            <a:ext cx="2868930" cy="2615879"/>
          </a:xfrm>
          <a:prstGeom prst="rect">
            <a:avLst/>
          </a:prstGeom>
        </p:spPr>
      </p:pic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95F69B26-C1D2-001D-7B52-E91D153AC3C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43611" y="0"/>
            <a:ext cx="5848390" cy="6858000"/>
          </a:xfrm>
          <a:custGeom>
            <a:avLst/>
            <a:gdLst>
              <a:gd name="connsiteX0" fmla="*/ 0 w 2528887"/>
              <a:gd name="connsiteY0" fmla="*/ 0 h 2965450"/>
              <a:gd name="connsiteX1" fmla="*/ 2528887 w 2528887"/>
              <a:gd name="connsiteY1" fmla="*/ 0 h 2965450"/>
              <a:gd name="connsiteX2" fmla="*/ 2528887 w 2528887"/>
              <a:gd name="connsiteY2" fmla="*/ 1860271 h 2965450"/>
              <a:gd name="connsiteX3" fmla="*/ 1471752 w 2528887"/>
              <a:gd name="connsiteY3" fmla="*/ 2471208 h 2965450"/>
              <a:gd name="connsiteX4" fmla="*/ 1355055 w 2528887"/>
              <a:gd name="connsiteY4" fmla="*/ 2587218 h 2965450"/>
              <a:gd name="connsiteX5" fmla="*/ 1355055 w 2528887"/>
              <a:gd name="connsiteY5" fmla="*/ 2905043 h 2965450"/>
              <a:gd name="connsiteX6" fmla="*/ 1381827 w 2528887"/>
              <a:gd name="connsiteY6" fmla="*/ 2965450 h 2965450"/>
              <a:gd name="connsiteX7" fmla="*/ 0 w 2528887"/>
              <a:gd name="connsiteY7" fmla="*/ 2965450 h 2965450"/>
              <a:gd name="connsiteX8" fmla="*/ 0 w 2528887"/>
              <a:gd name="connsiteY8" fmla="*/ 0 h 2965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28887" h="2965450">
                <a:moveTo>
                  <a:pt x="0" y="0"/>
                </a:moveTo>
                <a:lnTo>
                  <a:pt x="2528887" y="0"/>
                </a:lnTo>
                <a:cubicBezTo>
                  <a:pt x="2528887" y="0"/>
                  <a:pt x="2528887" y="0"/>
                  <a:pt x="2528887" y="1860271"/>
                </a:cubicBezTo>
                <a:cubicBezTo>
                  <a:pt x="2528887" y="1860271"/>
                  <a:pt x="2528887" y="1860271"/>
                  <a:pt x="1471752" y="2471208"/>
                </a:cubicBezTo>
                <a:cubicBezTo>
                  <a:pt x="1424387" y="2497980"/>
                  <a:pt x="1383886" y="2537794"/>
                  <a:pt x="1355055" y="2587218"/>
                </a:cubicBezTo>
                <a:cubicBezTo>
                  <a:pt x="1298766" y="2685380"/>
                  <a:pt x="1298766" y="2806881"/>
                  <a:pt x="1355055" y="2905043"/>
                </a:cubicBezTo>
                <a:cubicBezTo>
                  <a:pt x="1366725" y="2924263"/>
                  <a:pt x="1375649" y="2944857"/>
                  <a:pt x="1381827" y="2965450"/>
                </a:cubicBezTo>
                <a:cubicBezTo>
                  <a:pt x="1381827" y="2965450"/>
                  <a:pt x="1381827" y="2965450"/>
                  <a:pt x="0" y="2965450"/>
                </a:cubicBezTo>
                <a:cubicBezTo>
                  <a:pt x="0" y="2965450"/>
                  <a:pt x="0" y="2965450"/>
                  <a:pt x="0" y="0"/>
                </a:cubicBezTo>
                <a:close/>
              </a:path>
            </a:pathLst>
          </a:custGeom>
        </p:spPr>
        <p:txBody>
          <a:bodyPr wrap="square" tIns="2448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63BE2014-6BFF-DAD9-7999-3E949686F4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101263" y="5823685"/>
            <a:ext cx="1837784" cy="51112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7F9764D7-E923-76E5-5F12-8E69C326B0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add footnote or delete text box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02ED556-318C-0990-9C21-48245CFA04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93003893"/>
      </p:ext>
    </p:extLst>
  </p:cSld>
  <p:clrMapOvr>
    <a:masterClrMapping/>
  </p:clrMapOvr>
  <p:hf sldNum="0"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61102B7-5897-6D37-B5F8-20800A75B7A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6096" y="1996924"/>
            <a:ext cx="11174232" cy="4054626"/>
          </a:xfrm>
          <a:custGeom>
            <a:avLst/>
            <a:gdLst>
              <a:gd name="connsiteX0" fmla="*/ 0 w 7893376"/>
              <a:gd name="connsiteY0" fmla="*/ 0 h 2864151"/>
              <a:gd name="connsiteX1" fmla="*/ 717120 w 7893376"/>
              <a:gd name="connsiteY1" fmla="*/ 0 h 2864151"/>
              <a:gd name="connsiteX2" fmla="*/ 1389435 w 7893376"/>
              <a:gd name="connsiteY2" fmla="*/ 0 h 2864151"/>
              <a:gd name="connsiteX3" fmla="*/ 2018390 w 7893376"/>
              <a:gd name="connsiteY3" fmla="*/ 0 h 2864151"/>
              <a:gd name="connsiteX4" fmla="*/ 2605431 w 7893376"/>
              <a:gd name="connsiteY4" fmla="*/ 0 h 2864151"/>
              <a:gd name="connsiteX5" fmla="*/ 3152004 w 7893376"/>
              <a:gd name="connsiteY5" fmla="*/ 0 h 2864151"/>
              <a:gd name="connsiteX6" fmla="*/ 3659552 w 7893376"/>
              <a:gd name="connsiteY6" fmla="*/ 0 h 2864151"/>
              <a:gd name="connsiteX7" fmla="*/ 4129522 w 7893376"/>
              <a:gd name="connsiteY7" fmla="*/ 0 h 2864151"/>
              <a:gd name="connsiteX8" fmla="*/ 4563359 w 7893376"/>
              <a:gd name="connsiteY8" fmla="*/ 0 h 2864151"/>
              <a:gd name="connsiteX9" fmla="*/ 4962508 w 7893376"/>
              <a:gd name="connsiteY9" fmla="*/ 0 h 2864151"/>
              <a:gd name="connsiteX10" fmla="*/ 5328415 w 7893376"/>
              <a:gd name="connsiteY10" fmla="*/ 0 h 2864151"/>
              <a:gd name="connsiteX11" fmla="*/ 5662525 w 7893376"/>
              <a:gd name="connsiteY11" fmla="*/ 0 h 2864151"/>
              <a:gd name="connsiteX12" fmla="*/ 5966283 w 7893376"/>
              <a:gd name="connsiteY12" fmla="*/ 0 h 2864151"/>
              <a:gd name="connsiteX13" fmla="*/ 6241135 w 7893376"/>
              <a:gd name="connsiteY13" fmla="*/ 0 h 2864151"/>
              <a:gd name="connsiteX14" fmla="*/ 6488526 w 7893376"/>
              <a:gd name="connsiteY14" fmla="*/ 0 h 2864151"/>
              <a:gd name="connsiteX15" fmla="*/ 6709900 w 7893376"/>
              <a:gd name="connsiteY15" fmla="*/ 0 h 2864151"/>
              <a:gd name="connsiteX16" fmla="*/ 6906705 w 7893376"/>
              <a:gd name="connsiteY16" fmla="*/ 0 h 2864151"/>
              <a:gd name="connsiteX17" fmla="*/ 7080384 w 7893376"/>
              <a:gd name="connsiteY17" fmla="*/ 0 h 2864151"/>
              <a:gd name="connsiteX18" fmla="*/ 7232384 w 7893376"/>
              <a:gd name="connsiteY18" fmla="*/ 0 h 2864151"/>
              <a:gd name="connsiteX19" fmla="*/ 7477125 w 7893376"/>
              <a:gd name="connsiteY19" fmla="*/ 0 h 2864151"/>
              <a:gd name="connsiteX20" fmla="*/ 7652490 w 7893376"/>
              <a:gd name="connsiteY20" fmla="*/ 0 h 2864151"/>
              <a:gd name="connsiteX21" fmla="*/ 7770043 w 7893376"/>
              <a:gd name="connsiteY21" fmla="*/ 0 h 2864151"/>
              <a:gd name="connsiteX22" fmla="*/ 7841345 w 7893376"/>
              <a:gd name="connsiteY22" fmla="*/ 0 h 2864151"/>
              <a:gd name="connsiteX23" fmla="*/ 7877960 w 7893376"/>
              <a:gd name="connsiteY23" fmla="*/ 0 h 2864151"/>
              <a:gd name="connsiteX24" fmla="*/ 7891450 w 7893376"/>
              <a:gd name="connsiteY24" fmla="*/ 0 h 2864151"/>
              <a:gd name="connsiteX25" fmla="*/ 7893376 w 7893376"/>
              <a:gd name="connsiteY25" fmla="*/ 0 h 2864151"/>
              <a:gd name="connsiteX26" fmla="*/ 7893376 w 7893376"/>
              <a:gd name="connsiteY26" fmla="*/ 1424213 h 2864151"/>
              <a:gd name="connsiteX27" fmla="*/ 7343668 w 7893376"/>
              <a:gd name="connsiteY27" fmla="*/ 1424213 h 2864151"/>
              <a:gd name="connsiteX28" fmla="*/ 6951018 w 7893376"/>
              <a:gd name="connsiteY28" fmla="*/ 1424213 h 2864151"/>
              <a:gd name="connsiteX29" fmla="*/ 6735622 w 7893376"/>
              <a:gd name="connsiteY29" fmla="*/ 1426460 h 2864151"/>
              <a:gd name="connsiteX30" fmla="*/ 6567344 w 7893376"/>
              <a:gd name="connsiteY30" fmla="*/ 1469141 h 2864151"/>
              <a:gd name="connsiteX31" fmla="*/ 6307073 w 7893376"/>
              <a:gd name="connsiteY31" fmla="*/ 1709505 h 2864151"/>
              <a:gd name="connsiteX32" fmla="*/ 5782045 w 7893376"/>
              <a:gd name="connsiteY32" fmla="*/ 2646251 h 2864151"/>
              <a:gd name="connsiteX33" fmla="*/ 5708002 w 7893376"/>
              <a:gd name="connsiteY33" fmla="*/ 2864151 h 2864151"/>
              <a:gd name="connsiteX34" fmla="*/ 5189426 w 7893376"/>
              <a:gd name="connsiteY34" fmla="*/ 2864151 h 2864151"/>
              <a:gd name="connsiteX35" fmla="*/ 4703249 w 7893376"/>
              <a:gd name="connsiteY35" fmla="*/ 2864151 h 2864151"/>
              <a:gd name="connsiteX36" fmla="*/ 4248427 w 7893376"/>
              <a:gd name="connsiteY36" fmla="*/ 2864151 h 2864151"/>
              <a:gd name="connsiteX37" fmla="*/ 3823916 w 7893376"/>
              <a:gd name="connsiteY37" fmla="*/ 2864151 h 2864151"/>
              <a:gd name="connsiteX38" fmla="*/ 3428669 w 7893376"/>
              <a:gd name="connsiteY38" fmla="*/ 2864151 h 2864151"/>
              <a:gd name="connsiteX39" fmla="*/ 3061641 w 7893376"/>
              <a:gd name="connsiteY39" fmla="*/ 2864151 h 2864151"/>
              <a:gd name="connsiteX40" fmla="*/ 2721788 w 7893376"/>
              <a:gd name="connsiteY40" fmla="*/ 2864151 h 2864151"/>
              <a:gd name="connsiteX41" fmla="*/ 2408064 w 7893376"/>
              <a:gd name="connsiteY41" fmla="*/ 2864151 h 2864151"/>
              <a:gd name="connsiteX42" fmla="*/ 2119424 w 7893376"/>
              <a:gd name="connsiteY42" fmla="*/ 2864151 h 2864151"/>
              <a:gd name="connsiteX43" fmla="*/ 1854822 w 7893376"/>
              <a:gd name="connsiteY43" fmla="*/ 2864151 h 2864151"/>
              <a:gd name="connsiteX44" fmla="*/ 1613215 w 7893376"/>
              <a:gd name="connsiteY44" fmla="*/ 2864151 h 2864151"/>
              <a:gd name="connsiteX45" fmla="*/ 1393555 w 7893376"/>
              <a:gd name="connsiteY45" fmla="*/ 2864151 h 2864151"/>
              <a:gd name="connsiteX46" fmla="*/ 1194800 w 7893376"/>
              <a:gd name="connsiteY46" fmla="*/ 2864151 h 2864151"/>
              <a:gd name="connsiteX47" fmla="*/ 1015902 w 7893376"/>
              <a:gd name="connsiteY47" fmla="*/ 2864151 h 2864151"/>
              <a:gd name="connsiteX48" fmla="*/ 713501 w 7893376"/>
              <a:gd name="connsiteY48" fmla="*/ 2864151 h 2864151"/>
              <a:gd name="connsiteX49" fmla="*/ 477990 w 7893376"/>
              <a:gd name="connsiteY49" fmla="*/ 2864151 h 2864151"/>
              <a:gd name="connsiteX50" fmla="*/ 301008 w 7893376"/>
              <a:gd name="connsiteY50" fmla="*/ 2864151 h 2864151"/>
              <a:gd name="connsiteX51" fmla="*/ 174195 w 7893376"/>
              <a:gd name="connsiteY51" fmla="*/ 2864151 h 2864151"/>
              <a:gd name="connsiteX52" fmla="*/ 89188 w 7893376"/>
              <a:gd name="connsiteY52" fmla="*/ 2864151 h 2864151"/>
              <a:gd name="connsiteX53" fmla="*/ 37626 w 7893376"/>
              <a:gd name="connsiteY53" fmla="*/ 2864151 h 2864151"/>
              <a:gd name="connsiteX54" fmla="*/ 11149 w 7893376"/>
              <a:gd name="connsiteY54" fmla="*/ 2864151 h 2864151"/>
              <a:gd name="connsiteX55" fmla="*/ 0 w 7893376"/>
              <a:gd name="connsiteY55" fmla="*/ 2864151 h 2864151"/>
              <a:gd name="connsiteX56" fmla="*/ 0 w 7893376"/>
              <a:gd name="connsiteY56" fmla="*/ 0 h 2864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7893376" h="2864151">
                <a:moveTo>
                  <a:pt x="0" y="0"/>
                </a:moveTo>
                <a:lnTo>
                  <a:pt x="717120" y="0"/>
                </a:lnTo>
                <a:lnTo>
                  <a:pt x="1389435" y="0"/>
                </a:lnTo>
                <a:lnTo>
                  <a:pt x="2018390" y="0"/>
                </a:lnTo>
                <a:lnTo>
                  <a:pt x="2605431" y="0"/>
                </a:lnTo>
                <a:lnTo>
                  <a:pt x="3152004" y="0"/>
                </a:lnTo>
                <a:lnTo>
                  <a:pt x="3659552" y="0"/>
                </a:lnTo>
                <a:lnTo>
                  <a:pt x="4129522" y="0"/>
                </a:lnTo>
                <a:lnTo>
                  <a:pt x="4563359" y="0"/>
                </a:lnTo>
                <a:lnTo>
                  <a:pt x="4962508" y="0"/>
                </a:lnTo>
                <a:lnTo>
                  <a:pt x="5328415" y="0"/>
                </a:lnTo>
                <a:lnTo>
                  <a:pt x="5662525" y="0"/>
                </a:lnTo>
                <a:lnTo>
                  <a:pt x="5966283" y="0"/>
                </a:lnTo>
                <a:lnTo>
                  <a:pt x="6241135" y="0"/>
                </a:lnTo>
                <a:lnTo>
                  <a:pt x="6488526" y="0"/>
                </a:lnTo>
                <a:lnTo>
                  <a:pt x="6709900" y="0"/>
                </a:lnTo>
                <a:lnTo>
                  <a:pt x="6906705" y="0"/>
                </a:lnTo>
                <a:lnTo>
                  <a:pt x="7080384" y="0"/>
                </a:lnTo>
                <a:lnTo>
                  <a:pt x="7232384" y="0"/>
                </a:lnTo>
                <a:lnTo>
                  <a:pt x="7477125" y="0"/>
                </a:lnTo>
                <a:lnTo>
                  <a:pt x="7652490" y="0"/>
                </a:lnTo>
                <a:lnTo>
                  <a:pt x="7770043" y="0"/>
                </a:lnTo>
                <a:lnTo>
                  <a:pt x="7841345" y="0"/>
                </a:lnTo>
                <a:lnTo>
                  <a:pt x="7877960" y="0"/>
                </a:lnTo>
                <a:lnTo>
                  <a:pt x="7891450" y="0"/>
                </a:lnTo>
                <a:lnTo>
                  <a:pt x="7893376" y="0"/>
                </a:lnTo>
                <a:lnTo>
                  <a:pt x="7893376" y="1424213"/>
                </a:lnTo>
                <a:lnTo>
                  <a:pt x="7343668" y="1424213"/>
                </a:lnTo>
                <a:cubicBezTo>
                  <a:pt x="7213532" y="1424213"/>
                  <a:pt x="7083397" y="1424213"/>
                  <a:pt x="6951018" y="1424213"/>
                </a:cubicBezTo>
                <a:cubicBezTo>
                  <a:pt x="6879220" y="1424213"/>
                  <a:pt x="6807420" y="1421967"/>
                  <a:pt x="6735622" y="1426460"/>
                </a:cubicBezTo>
                <a:cubicBezTo>
                  <a:pt x="6679529" y="1433199"/>
                  <a:pt x="6621192" y="1444431"/>
                  <a:pt x="6567344" y="1469141"/>
                </a:cubicBezTo>
                <a:cubicBezTo>
                  <a:pt x="6455158" y="1518562"/>
                  <a:pt x="6367653" y="1603925"/>
                  <a:pt x="6307073" y="1709505"/>
                </a:cubicBezTo>
                <a:cubicBezTo>
                  <a:pt x="6044558" y="2174508"/>
                  <a:pt x="6042315" y="2181248"/>
                  <a:pt x="5782045" y="2646251"/>
                </a:cubicBezTo>
                <a:cubicBezTo>
                  <a:pt x="5741658" y="2713643"/>
                  <a:pt x="5716977" y="2787774"/>
                  <a:pt x="5708002" y="2864151"/>
                </a:cubicBezTo>
                <a:lnTo>
                  <a:pt x="5189426" y="2864151"/>
                </a:lnTo>
                <a:lnTo>
                  <a:pt x="4703249" y="2864151"/>
                </a:lnTo>
                <a:lnTo>
                  <a:pt x="4248427" y="2864151"/>
                </a:lnTo>
                <a:lnTo>
                  <a:pt x="3823916" y="2864151"/>
                </a:lnTo>
                <a:lnTo>
                  <a:pt x="3428669" y="2864151"/>
                </a:lnTo>
                <a:lnTo>
                  <a:pt x="3061641" y="2864151"/>
                </a:lnTo>
                <a:lnTo>
                  <a:pt x="2721788" y="2864151"/>
                </a:lnTo>
                <a:lnTo>
                  <a:pt x="2408064" y="2864151"/>
                </a:lnTo>
                <a:lnTo>
                  <a:pt x="2119424" y="2864151"/>
                </a:lnTo>
                <a:lnTo>
                  <a:pt x="1854822" y="2864151"/>
                </a:lnTo>
                <a:lnTo>
                  <a:pt x="1613215" y="2864151"/>
                </a:lnTo>
                <a:lnTo>
                  <a:pt x="1393555" y="2864151"/>
                </a:lnTo>
                <a:lnTo>
                  <a:pt x="1194800" y="2864151"/>
                </a:lnTo>
                <a:lnTo>
                  <a:pt x="1015902" y="2864151"/>
                </a:lnTo>
                <a:lnTo>
                  <a:pt x="713501" y="2864151"/>
                </a:lnTo>
                <a:lnTo>
                  <a:pt x="477990" y="2864151"/>
                </a:lnTo>
                <a:lnTo>
                  <a:pt x="301008" y="2864151"/>
                </a:lnTo>
                <a:lnTo>
                  <a:pt x="174195" y="2864151"/>
                </a:lnTo>
                <a:lnTo>
                  <a:pt x="89188" y="2864151"/>
                </a:lnTo>
                <a:lnTo>
                  <a:pt x="37626" y="2864151"/>
                </a:lnTo>
                <a:lnTo>
                  <a:pt x="11149" y="2864151"/>
                </a:lnTo>
                <a:lnTo>
                  <a:pt x="0" y="2864151"/>
                </a:ln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</p:spPr>
        <p:txBody>
          <a:bodyPr wrap="square" tIns="828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12" name="Picture 11" descr="A yellow and orange gradient&#10;&#10;Description automatically generated">
            <a:extLst>
              <a:ext uri="{FF2B5EF4-FFF2-40B4-BE49-F238E27FC236}">
                <a16:creationId xmlns:a16="http://schemas.microsoft.com/office/drawing/2014/main" id="{B5EA0191-64B2-37EE-1EB3-A2B96BACF1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5365" y="3952078"/>
            <a:ext cx="3189242" cy="213648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872663" y="4848225"/>
            <a:ext cx="1760013" cy="7981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D5F72E-9CFA-4DC4-D9DD-072AFE58471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6731852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20"/>
            <a:ext cx="5465762" cy="355738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3183D8-01C0-CEE2-0ACB-5C2FB570104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0313" y="1573619"/>
            <a:ext cx="5465762" cy="355739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900BD1E-106D-6745-BCC4-EA41A3289CE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0313" y="5359139"/>
            <a:ext cx="3582988" cy="69241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5465762" cy="3190875"/>
          </a:xfrm>
        </p:spPr>
        <p:txBody>
          <a:bodyPr lIns="90000" tIns="90000">
            <a:normAutofit/>
          </a:bodyPr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0C074D9A-3ED8-DCC3-7AE2-07A9E42A504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10313" y="2073275"/>
            <a:ext cx="5465762" cy="3190875"/>
          </a:xfrm>
        </p:spPr>
        <p:txBody>
          <a:bodyPr lIns="90000" tIns="90000">
            <a:normAutofit/>
          </a:bodyPr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82988" cy="69241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37E8A8-F9EE-A285-FF1E-7C72507165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2625567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4839" y="1573620"/>
            <a:ext cx="3562349" cy="355738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 noProof="0"/>
              <a:t>Click to edit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AA2C8FF-DAA1-2C51-F06E-EADF564334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4838" y="2073275"/>
            <a:ext cx="3562349" cy="3190875"/>
          </a:xfrm>
        </p:spPr>
        <p:txBody>
          <a:bodyPr lIns="90000" tIns="90000">
            <a:normAutofit/>
          </a:bodyPr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359139"/>
            <a:ext cx="3562349" cy="69241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6930683-2C07-515F-6B98-21313F587FC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406901" y="1573620"/>
            <a:ext cx="3562349" cy="355738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 noProof="0"/>
              <a:t>Click to edit text styles</a:t>
            </a:r>
          </a:p>
        </p:txBody>
      </p:sp>
      <p:sp>
        <p:nvSpPr>
          <p:cNvPr id="8" name="Picture Placeholder 13">
            <a:extLst>
              <a:ext uri="{FF2B5EF4-FFF2-40B4-BE49-F238E27FC236}">
                <a16:creationId xmlns:a16="http://schemas.microsoft.com/office/drawing/2014/main" id="{5A4C5A24-7447-AF6B-CB8A-1CA59B1247E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406900" y="2073275"/>
            <a:ext cx="3562349" cy="3190875"/>
          </a:xfrm>
        </p:spPr>
        <p:txBody>
          <a:bodyPr lIns="90000" tIns="90000">
            <a:normAutofit/>
          </a:bodyPr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A5FB49C-AB6F-0460-96FD-E8379B6900E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06900" y="5359139"/>
            <a:ext cx="3562349" cy="69241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DEC9EC0-0A9C-AD30-D8B4-BDAFC16D9D6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210552" y="1573620"/>
            <a:ext cx="3562349" cy="355738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 noProof="0"/>
              <a:t>Click to edit text styles</a:t>
            </a:r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6CFA9FC5-F07D-1CC2-DC50-3EB8E61D911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210551" y="2073275"/>
            <a:ext cx="3562349" cy="3190875"/>
          </a:xfrm>
        </p:spPr>
        <p:txBody>
          <a:bodyPr lIns="90000" tIns="90000">
            <a:normAutofit/>
          </a:bodyPr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ACC3CE1F-FC53-0F86-9C92-D632E6EFFFF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10551" y="5359139"/>
            <a:ext cx="3562349" cy="69241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ECA0151-005B-24C8-CF3E-521AC30F0A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291074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612898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11" name="Picture 10" descr="A colorful logo with a white background&#10;&#10;Description automatically generated">
            <a:extLst>
              <a:ext uri="{FF2B5EF4-FFF2-40B4-BE49-F238E27FC236}">
                <a16:creationId xmlns:a16="http://schemas.microsoft.com/office/drawing/2014/main" id="{F576D057-6A6B-9C97-5077-7B2771E2D2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2288" y="0"/>
            <a:ext cx="6839712" cy="6858000"/>
          </a:xfrm>
          <a:prstGeom prst="rect">
            <a:avLst/>
          </a:prstGeom>
        </p:spPr>
      </p:pic>
      <p:pic>
        <p:nvPicPr>
          <p:cNvPr id="2054" name="Picture 6">
            <a:extLst>
              <a:ext uri="{FF2B5EF4-FFF2-40B4-BE49-F238E27FC236}">
                <a16:creationId xmlns:a16="http://schemas.microsoft.com/office/drawing/2014/main" id="{B92AF615-B0B4-115B-E41F-28D77FF01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61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Picture 7">
            <a:extLst>
              <a:ext uri="{FF2B5EF4-FFF2-40B4-BE49-F238E27FC236}">
                <a16:creationId xmlns:a16="http://schemas.microsoft.com/office/drawing/2014/main" id="{C20AF777-3D3D-1432-93C2-9B745E5BDC2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85650" y="3175"/>
            <a:ext cx="4762" cy="235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2" name="Picture 14">
            <a:extLst>
              <a:ext uri="{FF2B5EF4-FFF2-40B4-BE49-F238E27FC236}">
                <a16:creationId xmlns:a16="http://schemas.microsoft.com/office/drawing/2014/main" id="{C02AEB46-FDFB-8F92-9DE9-47969ADA64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1488" y="3175"/>
            <a:ext cx="4763" cy="235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CB283727-27DA-3938-0C6F-A559BBD5BD4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77225" y="1211149"/>
            <a:ext cx="3914775" cy="5645475"/>
          </a:xfrm>
          <a:custGeom>
            <a:avLst/>
            <a:gdLst>
              <a:gd name="connsiteX0" fmla="*/ 1569376 w 3914775"/>
              <a:gd name="connsiteY0" fmla="*/ 516 h 5645475"/>
              <a:gd name="connsiteX1" fmla="*/ 2292622 w 3914775"/>
              <a:gd name="connsiteY1" fmla="*/ 205112 h 5645475"/>
              <a:gd name="connsiteX2" fmla="*/ 3914775 w 3914775"/>
              <a:gd name="connsiteY2" fmla="*/ 1140150 h 5645475"/>
              <a:gd name="connsiteX3" fmla="*/ 3914775 w 3914775"/>
              <a:gd name="connsiteY3" fmla="*/ 5645475 h 5645475"/>
              <a:gd name="connsiteX4" fmla="*/ 432151 w 3914775"/>
              <a:gd name="connsiteY4" fmla="*/ 5645475 h 5645475"/>
              <a:gd name="connsiteX5" fmla="*/ 3178 w 3914775"/>
              <a:gd name="connsiteY5" fmla="*/ 4583438 h 5645475"/>
              <a:gd name="connsiteX6" fmla="*/ 0 w 3914775"/>
              <a:gd name="connsiteY6" fmla="*/ 1527500 h 5645475"/>
              <a:gd name="connsiteX7" fmla="*/ 204954 w 3914775"/>
              <a:gd name="connsiteY7" fmla="*/ 763912 h 5645475"/>
              <a:gd name="connsiteX8" fmla="*/ 1569376 w 3914775"/>
              <a:gd name="connsiteY8" fmla="*/ 516 h 5645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14775" h="5645475">
                <a:moveTo>
                  <a:pt x="1569376" y="516"/>
                </a:moveTo>
                <a:cubicBezTo>
                  <a:pt x="1815830" y="6923"/>
                  <a:pt x="2064234" y="73151"/>
                  <a:pt x="2292622" y="205112"/>
                </a:cubicBezTo>
                <a:cubicBezTo>
                  <a:pt x="2292622" y="205112"/>
                  <a:pt x="2292622" y="205112"/>
                  <a:pt x="3914775" y="1140150"/>
                </a:cubicBezTo>
                <a:cubicBezTo>
                  <a:pt x="3914775" y="1140150"/>
                  <a:pt x="3914775" y="1140150"/>
                  <a:pt x="3914775" y="5645475"/>
                </a:cubicBezTo>
                <a:cubicBezTo>
                  <a:pt x="3914775" y="5645475"/>
                  <a:pt x="3914775" y="5645475"/>
                  <a:pt x="432151" y="5645475"/>
                </a:cubicBezTo>
                <a:cubicBezTo>
                  <a:pt x="166823" y="5370838"/>
                  <a:pt x="3178" y="4996188"/>
                  <a:pt x="3178" y="4583438"/>
                </a:cubicBezTo>
                <a:cubicBezTo>
                  <a:pt x="3178" y="4583438"/>
                  <a:pt x="3178" y="4583438"/>
                  <a:pt x="0" y="1527500"/>
                </a:cubicBezTo>
                <a:cubicBezTo>
                  <a:pt x="0" y="1268737"/>
                  <a:pt x="65141" y="1005212"/>
                  <a:pt x="204954" y="763912"/>
                </a:cubicBezTo>
                <a:cubicBezTo>
                  <a:pt x="494411" y="261865"/>
                  <a:pt x="1027177" y="-13578"/>
                  <a:pt x="1569376" y="516"/>
                </a:cubicBezTo>
                <a:close/>
              </a:path>
            </a:pathLst>
          </a:custGeom>
        </p:spPr>
        <p:txBody>
          <a:bodyPr wrap="square" lIns="0" tIns="72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7942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[Light] + 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yellow and orange gradient&#10;&#10;Description automatically generated">
            <a:extLst>
              <a:ext uri="{FF2B5EF4-FFF2-40B4-BE49-F238E27FC236}">
                <a16:creationId xmlns:a16="http://schemas.microsoft.com/office/drawing/2014/main" id="{816D6385-18A1-6221-5006-883352883F8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6715" y="4075977"/>
            <a:ext cx="4333396" cy="292332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9856" y="6449644"/>
            <a:ext cx="2687994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A92187FE-E661-7028-83F4-C00A7BBC9C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250680" y="5242706"/>
            <a:ext cx="1900238" cy="80757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002068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DCD79BA-CAF7-9026-0080-6F10C42F5DD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48618639"/>
      </p:ext>
    </p:extLst>
  </p:cSld>
  <p:clrMapOvr>
    <a:masterClrMapping/>
  </p:clrMapOvr>
  <p:hf sldNum="0"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+ Shap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6900CA3A-D5C6-6306-F264-B33E7114A57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5276289"/>
            <a:ext cx="4892510" cy="15911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742DB7D-E407-5F5A-966C-150D9FA07A5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92557699"/>
      </p:ext>
    </p:extLst>
  </p:cSld>
  <p:clrMapOvr>
    <a:masterClrMapping/>
  </p:clrMapOvr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Caption + Large Copy [Ligh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84EBD29-A2BA-219B-6568-CD365506F9B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6070600" cy="6858000"/>
          </a:xfrm>
        </p:spPr>
        <p:txBody>
          <a:bodyPr lIns="90000" tIns="90000"/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>
            <a:normAutofit/>
          </a:bodyPr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233035"/>
            <a:ext cx="3562390" cy="81851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2A464A1-EE84-A23B-881D-10670F2C8A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3105488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Caption + Large Copy [Shap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5B02303-1EE2-81CD-39CF-6C01FF93C20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3811" y="0"/>
            <a:ext cx="6092517" cy="6858000"/>
          </a:xfrm>
          <a:custGeom>
            <a:avLst/>
            <a:gdLst>
              <a:gd name="connsiteX0" fmla="*/ 0 w 3702050"/>
              <a:gd name="connsiteY0" fmla="*/ 0 h 4167187"/>
              <a:gd name="connsiteX1" fmla="*/ 3702050 w 3702050"/>
              <a:gd name="connsiteY1" fmla="*/ 0 h 4167187"/>
              <a:gd name="connsiteX2" fmla="*/ 3702050 w 3702050"/>
              <a:gd name="connsiteY2" fmla="*/ 4167187 h 4167187"/>
              <a:gd name="connsiteX3" fmla="*/ 2952573 w 3702050"/>
              <a:gd name="connsiteY3" fmla="*/ 4167187 h 4167187"/>
              <a:gd name="connsiteX4" fmla="*/ 1403461 w 3702050"/>
              <a:gd name="connsiteY4" fmla="*/ 3267190 h 4167187"/>
              <a:gd name="connsiteX5" fmla="*/ 746584 w 3702050"/>
              <a:gd name="connsiteY5" fmla="*/ 3443717 h 4167187"/>
              <a:gd name="connsiteX6" fmla="*/ 333744 w 3702050"/>
              <a:gd name="connsiteY6" fmla="*/ 3685838 h 4167187"/>
              <a:gd name="connsiteX7" fmla="*/ 323134 w 3702050"/>
              <a:gd name="connsiteY7" fmla="*/ 3685838 h 4167187"/>
              <a:gd name="connsiteX8" fmla="*/ 0 w 3702050"/>
              <a:gd name="connsiteY8" fmla="*/ 3817992 h 4167187"/>
              <a:gd name="connsiteX9" fmla="*/ 0 w 3702050"/>
              <a:gd name="connsiteY9" fmla="*/ 3737980 h 4167187"/>
              <a:gd name="connsiteX10" fmla="*/ 0 w 3702050"/>
              <a:gd name="connsiteY10" fmla="*/ 0 h 4167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702050" h="4167187">
                <a:moveTo>
                  <a:pt x="0" y="0"/>
                </a:moveTo>
                <a:lnTo>
                  <a:pt x="3702050" y="0"/>
                </a:lnTo>
                <a:cubicBezTo>
                  <a:pt x="3702050" y="0"/>
                  <a:pt x="3702050" y="0"/>
                  <a:pt x="3702050" y="4167187"/>
                </a:cubicBezTo>
                <a:cubicBezTo>
                  <a:pt x="3702050" y="4167187"/>
                  <a:pt x="3702050" y="4167187"/>
                  <a:pt x="2952573" y="4167187"/>
                </a:cubicBezTo>
                <a:cubicBezTo>
                  <a:pt x="2952573" y="4167187"/>
                  <a:pt x="2952573" y="4167187"/>
                  <a:pt x="1403461" y="3267190"/>
                </a:cubicBezTo>
                <a:cubicBezTo>
                  <a:pt x="1172927" y="3134072"/>
                  <a:pt x="879695" y="3213171"/>
                  <a:pt x="746584" y="3443717"/>
                </a:cubicBezTo>
                <a:cubicBezTo>
                  <a:pt x="658807" y="3597093"/>
                  <a:pt x="498687" y="3683909"/>
                  <a:pt x="333744" y="3685838"/>
                </a:cubicBezTo>
                <a:cubicBezTo>
                  <a:pt x="333744" y="3685838"/>
                  <a:pt x="333744" y="3685838"/>
                  <a:pt x="323134" y="3685838"/>
                </a:cubicBezTo>
                <a:cubicBezTo>
                  <a:pt x="197739" y="3687768"/>
                  <a:pt x="83919" y="3737928"/>
                  <a:pt x="0" y="3817992"/>
                </a:cubicBezTo>
                <a:lnTo>
                  <a:pt x="0" y="3737980"/>
                </a:lnTo>
                <a:cubicBezTo>
                  <a:pt x="0" y="3251545"/>
                  <a:pt x="0" y="2213818"/>
                  <a:pt x="0" y="0"/>
                </a:cubicBezTo>
                <a:close/>
              </a:path>
            </a:pathLst>
          </a:custGeom>
        </p:spPr>
        <p:txBody>
          <a:bodyPr wrap="square" lIns="90000" tIns="90000">
            <a:noAutofit/>
          </a:bodyPr>
          <a:lstStyle>
            <a:lvl1pPr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>
            <a:normAutofit/>
          </a:bodyPr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1FBC89-74CA-0EA5-E00A-CE9A96E9D7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3161101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/Caption + Large Copy [Dar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84EBD29-A2BA-219B-6568-CD365506F9B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6070600" cy="6858000"/>
          </a:xfrm>
          <a:solidFill>
            <a:schemeClr val="tx1"/>
          </a:solidFill>
        </p:spPr>
        <p:txBody>
          <a:bodyPr lIns="90000" tIns="90000"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1628" y="278092"/>
            <a:ext cx="5221272" cy="5773458"/>
          </a:xfrm>
        </p:spPr>
        <p:txBody>
          <a:bodyPr>
            <a:normAutofit/>
          </a:bodyPr>
          <a:lstStyle>
            <a:lvl1pPr>
              <a:defRPr sz="4000" b="0" spc="-70" baseline="0">
                <a:solidFill>
                  <a:srgbClr val="002068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55C1757-8828-AD56-B8D3-6885A848EDF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4838" y="5233035"/>
            <a:ext cx="3562390" cy="81851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AE4799D-5266-2C4B-5856-EB8982C687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4000" y="6134400"/>
            <a:ext cx="3438000" cy="641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03070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Image,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orange gradient&#10;&#10;Description automatically generated">
            <a:extLst>
              <a:ext uri="{FF2B5EF4-FFF2-40B4-BE49-F238E27FC236}">
                <a16:creationId xmlns:a16="http://schemas.microsoft.com/office/drawing/2014/main" id="{D2F55EE1-7460-5919-DC57-5004602FC1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6535" y="5010151"/>
            <a:ext cx="3449872" cy="1851438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5DA7FDAF-9EA2-3D56-E09E-312DA2459881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397535" y="0"/>
            <a:ext cx="6794466" cy="6858000"/>
          </a:xfrm>
          <a:custGeom>
            <a:avLst/>
            <a:gdLst>
              <a:gd name="connsiteX0" fmla="*/ 0 w 2716213"/>
              <a:gd name="connsiteY0" fmla="*/ 0 h 2741612"/>
              <a:gd name="connsiteX1" fmla="*/ 2716213 w 2716213"/>
              <a:gd name="connsiteY1" fmla="*/ 0 h 2741612"/>
              <a:gd name="connsiteX2" fmla="*/ 2716213 w 2716213"/>
              <a:gd name="connsiteY2" fmla="*/ 2741612 h 2741612"/>
              <a:gd name="connsiteX3" fmla="*/ 1821386 w 2716213"/>
              <a:gd name="connsiteY3" fmla="*/ 2741612 h 2741612"/>
              <a:gd name="connsiteX4" fmla="*/ 1808693 w 2716213"/>
              <a:gd name="connsiteY4" fmla="*/ 2468720 h 2741612"/>
              <a:gd name="connsiteX5" fmla="*/ 1707153 w 2716213"/>
              <a:gd name="connsiteY5" fmla="*/ 2221214 h 2741612"/>
              <a:gd name="connsiteX6" fmla="*/ 1497725 w 2716213"/>
              <a:gd name="connsiteY6" fmla="*/ 2062556 h 2741612"/>
              <a:gd name="connsiteX7" fmla="*/ 1237527 w 2716213"/>
              <a:gd name="connsiteY7" fmla="*/ 2030824 h 2741612"/>
              <a:gd name="connsiteX8" fmla="*/ 1104255 w 2716213"/>
              <a:gd name="connsiteY8" fmla="*/ 2062556 h 2741612"/>
              <a:gd name="connsiteX9" fmla="*/ 990022 w 2716213"/>
              <a:gd name="connsiteY9" fmla="*/ 2132365 h 2741612"/>
              <a:gd name="connsiteX10" fmla="*/ 742516 w 2716213"/>
              <a:gd name="connsiteY10" fmla="*/ 2233906 h 2741612"/>
              <a:gd name="connsiteX11" fmla="*/ 482318 w 2716213"/>
              <a:gd name="connsiteY11" fmla="*/ 2195828 h 2741612"/>
              <a:gd name="connsiteX12" fmla="*/ 272891 w 2716213"/>
              <a:gd name="connsiteY12" fmla="*/ 2037170 h 2741612"/>
              <a:gd name="connsiteX13" fmla="*/ 171350 w 2716213"/>
              <a:gd name="connsiteY13" fmla="*/ 1789664 h 2741612"/>
              <a:gd name="connsiteX14" fmla="*/ 203082 w 2716213"/>
              <a:gd name="connsiteY14" fmla="*/ 1529464 h 2741612"/>
              <a:gd name="connsiteX15" fmla="*/ 368085 w 2716213"/>
              <a:gd name="connsiteY15" fmla="*/ 1320036 h 2741612"/>
              <a:gd name="connsiteX16" fmla="*/ 526742 w 2716213"/>
              <a:gd name="connsiteY16" fmla="*/ 1104261 h 2741612"/>
              <a:gd name="connsiteX17" fmla="*/ 558474 w 2716213"/>
              <a:gd name="connsiteY17" fmla="*/ 844061 h 2741612"/>
              <a:gd name="connsiteX18" fmla="*/ 456933 w 2716213"/>
              <a:gd name="connsiteY18" fmla="*/ 596555 h 2741612"/>
              <a:gd name="connsiteX19" fmla="*/ 0 w 2716213"/>
              <a:gd name="connsiteY19" fmla="*/ 0 h 2741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716213" h="2741612">
                <a:moveTo>
                  <a:pt x="0" y="0"/>
                </a:moveTo>
                <a:lnTo>
                  <a:pt x="2716213" y="0"/>
                </a:lnTo>
                <a:cubicBezTo>
                  <a:pt x="2716213" y="2741612"/>
                  <a:pt x="2716213" y="2741612"/>
                  <a:pt x="2716213" y="2741612"/>
                </a:cubicBezTo>
                <a:cubicBezTo>
                  <a:pt x="1821386" y="2741612"/>
                  <a:pt x="1821386" y="2741612"/>
                  <a:pt x="1821386" y="2741612"/>
                </a:cubicBezTo>
                <a:cubicBezTo>
                  <a:pt x="1827732" y="2652764"/>
                  <a:pt x="1821386" y="2557569"/>
                  <a:pt x="1808693" y="2468720"/>
                </a:cubicBezTo>
                <a:cubicBezTo>
                  <a:pt x="1796001" y="2373525"/>
                  <a:pt x="1764269" y="2291023"/>
                  <a:pt x="1707153" y="2221214"/>
                </a:cubicBezTo>
                <a:cubicBezTo>
                  <a:pt x="1656382" y="2151404"/>
                  <a:pt x="1580227" y="2094287"/>
                  <a:pt x="1497725" y="2062556"/>
                </a:cubicBezTo>
                <a:cubicBezTo>
                  <a:pt x="1415223" y="2030824"/>
                  <a:pt x="1326375" y="2018131"/>
                  <a:pt x="1237527" y="2030824"/>
                </a:cubicBezTo>
                <a:cubicBezTo>
                  <a:pt x="1186757" y="2037170"/>
                  <a:pt x="1142333" y="2043517"/>
                  <a:pt x="1104255" y="2062556"/>
                </a:cubicBezTo>
                <a:cubicBezTo>
                  <a:pt x="1059831" y="2081594"/>
                  <a:pt x="1021753" y="2100633"/>
                  <a:pt x="990022" y="2132365"/>
                </a:cubicBezTo>
                <a:cubicBezTo>
                  <a:pt x="920213" y="2183136"/>
                  <a:pt x="837711" y="2221214"/>
                  <a:pt x="742516" y="2233906"/>
                </a:cubicBezTo>
                <a:cubicBezTo>
                  <a:pt x="653668" y="2246599"/>
                  <a:pt x="564820" y="2227560"/>
                  <a:pt x="482318" y="2195828"/>
                </a:cubicBezTo>
                <a:cubicBezTo>
                  <a:pt x="399817" y="2164097"/>
                  <a:pt x="323661" y="2106980"/>
                  <a:pt x="272891" y="2037170"/>
                </a:cubicBezTo>
                <a:cubicBezTo>
                  <a:pt x="215774" y="1967361"/>
                  <a:pt x="184043" y="1884858"/>
                  <a:pt x="171350" y="1789664"/>
                </a:cubicBezTo>
                <a:cubicBezTo>
                  <a:pt x="158658" y="1700815"/>
                  <a:pt x="171350" y="1605620"/>
                  <a:pt x="203082" y="1529464"/>
                </a:cubicBezTo>
                <a:cubicBezTo>
                  <a:pt x="241159" y="1446962"/>
                  <a:pt x="291930" y="1370806"/>
                  <a:pt x="368085" y="1320036"/>
                </a:cubicBezTo>
                <a:cubicBezTo>
                  <a:pt x="437894" y="1262919"/>
                  <a:pt x="495011" y="1193109"/>
                  <a:pt x="526742" y="1104261"/>
                </a:cubicBezTo>
                <a:cubicBezTo>
                  <a:pt x="558474" y="1028105"/>
                  <a:pt x="571167" y="939256"/>
                  <a:pt x="558474" y="844061"/>
                </a:cubicBezTo>
                <a:cubicBezTo>
                  <a:pt x="552128" y="748866"/>
                  <a:pt x="514050" y="666364"/>
                  <a:pt x="456933" y="596555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CCA893B-12FC-BEFE-9665-A9C624A56CB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5465762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5020628" cy="3690531"/>
          </a:xfrm>
        </p:spPr>
        <p:txBody>
          <a:bodyPr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9" y="5464175"/>
            <a:ext cx="5465762" cy="587375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add footnote or delete text box</a:t>
            </a:r>
          </a:p>
          <a:p>
            <a:pPr lvl="1"/>
            <a:r>
              <a:rPr lang="en-US" noProof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61195560"/>
      </p:ext>
    </p:extLst>
  </p:cSld>
  <p:clrMapOvr>
    <a:masterClrMapping/>
  </p:clrMapOvr>
  <p:hf sldNum="0"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Shape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olorful circle and black background&#10;&#10;Description automatically generated">
            <a:extLst>
              <a:ext uri="{FF2B5EF4-FFF2-40B4-BE49-F238E27FC236}">
                <a16:creationId xmlns:a16="http://schemas.microsoft.com/office/drawing/2014/main" id="{CCD54DE9-51DB-FB3B-B34D-8A2AF19C9C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0100" y="0"/>
            <a:ext cx="50419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CCA893B-12FC-BEFE-9665-A9C624A56CB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8" y="1573619"/>
            <a:ext cx="5491161" cy="3690531"/>
          </a:xfrm>
        </p:spPr>
        <p:txBody>
          <a:bodyPr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0230BA0-2D1F-683C-E805-0BB253A299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9" y="5464175"/>
            <a:ext cx="5465762" cy="587375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add footnote or delete text box</a:t>
            </a:r>
          </a:p>
          <a:p>
            <a:pPr lvl="1"/>
            <a:r>
              <a:rPr lang="en-US" noProof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85149690"/>
      </p:ext>
    </p:extLst>
  </p:cSld>
  <p:clrMapOvr>
    <a:masterClrMapping/>
  </p:clrMapOvr>
  <p:hf sldNum="0"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lorful shapes on a black background&#10;&#10;Description automatically generated">
            <a:extLst>
              <a:ext uri="{FF2B5EF4-FFF2-40B4-BE49-F238E27FC236}">
                <a16:creationId xmlns:a16="http://schemas.microsoft.com/office/drawing/2014/main" id="{F1B3F858-4202-3ECC-4CF1-014AFCF8C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901" y="931963"/>
            <a:ext cx="4579843" cy="4702076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3625" y="300038"/>
            <a:ext cx="5614985" cy="5751512"/>
          </a:xfrm>
        </p:spPr>
        <p:txBody>
          <a:bodyPr>
            <a:normAutofit/>
          </a:bodyPr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5pPr>
          </a:lstStyle>
          <a:p>
            <a:pPr lvl="0"/>
            <a:r>
              <a:rPr lang="en-US" noProof="0"/>
              <a:t>“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013477F-ACAC-7B41-B204-AC139F13B7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  <p:sp>
        <p:nvSpPr>
          <p:cNvPr id="52" name="Picture Placeholder 51">
            <a:extLst>
              <a:ext uri="{FF2B5EF4-FFF2-40B4-BE49-F238E27FC236}">
                <a16:creationId xmlns:a16="http://schemas.microsoft.com/office/drawing/2014/main" id="{A5A8B1AB-659B-E21E-7B3A-8E36BF137D4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93633" y="1008462"/>
            <a:ext cx="4240340" cy="4417235"/>
          </a:xfrm>
          <a:custGeom>
            <a:avLst/>
            <a:gdLst>
              <a:gd name="connsiteX0" fmla="*/ 2096858 w 3868865"/>
              <a:gd name="connsiteY0" fmla="*/ 3 h 4030263"/>
              <a:gd name="connsiteX1" fmla="*/ 2819851 w 3868865"/>
              <a:gd name="connsiteY1" fmla="*/ 95046 h 4030263"/>
              <a:gd name="connsiteX2" fmla="*/ 3868865 w 3868865"/>
              <a:gd name="connsiteY2" fmla="*/ 1144367 h 4030263"/>
              <a:gd name="connsiteX3" fmla="*/ 3716746 w 3868865"/>
              <a:gd name="connsiteY3" fmla="*/ 1689723 h 4030263"/>
              <a:gd name="connsiteX4" fmla="*/ 3728915 w 3868865"/>
              <a:gd name="connsiteY4" fmla="*/ 2192472 h 4030263"/>
              <a:gd name="connsiteX5" fmla="*/ 3786112 w 3868865"/>
              <a:gd name="connsiteY5" fmla="*/ 2571056 h 4030263"/>
              <a:gd name="connsiteX6" fmla="*/ 3536637 w 3868865"/>
              <a:gd name="connsiteY6" fmla="*/ 2909468 h 4030263"/>
              <a:gd name="connsiteX7" fmla="*/ 2627573 w 3868865"/>
              <a:gd name="connsiteY7" fmla="*/ 3435346 h 4030263"/>
              <a:gd name="connsiteX8" fmla="*/ 2616620 w 3868865"/>
              <a:gd name="connsiteY8" fmla="*/ 3440215 h 4030263"/>
              <a:gd name="connsiteX9" fmla="*/ 2606885 w 3868865"/>
              <a:gd name="connsiteY9" fmla="*/ 3446302 h 4030263"/>
              <a:gd name="connsiteX10" fmla="*/ 1718509 w 3868865"/>
              <a:gd name="connsiteY10" fmla="*/ 3960007 h 4030263"/>
              <a:gd name="connsiteX11" fmla="*/ 1001723 w 3868865"/>
              <a:gd name="connsiteY11" fmla="*/ 3767672 h 4030263"/>
              <a:gd name="connsiteX12" fmla="*/ 808228 w 3868865"/>
              <a:gd name="connsiteY12" fmla="*/ 3352569 h 4030263"/>
              <a:gd name="connsiteX13" fmla="*/ 196100 w 3868865"/>
              <a:gd name="connsiteY13" fmla="*/ 2746348 h 4030263"/>
              <a:gd name="connsiteX14" fmla="*/ 23293 w 3868865"/>
              <a:gd name="connsiteY14" fmla="*/ 1929533 h 4030263"/>
              <a:gd name="connsiteX15" fmla="*/ 20859 w 3868865"/>
              <a:gd name="connsiteY15" fmla="*/ 878994 h 4030263"/>
              <a:gd name="connsiteX16" fmla="*/ 91442 w 3868865"/>
              <a:gd name="connsiteY16" fmla="*/ 617272 h 4030263"/>
              <a:gd name="connsiteX17" fmla="*/ 808228 w 3868865"/>
              <a:gd name="connsiteY17" fmla="*/ 424937 h 4030263"/>
              <a:gd name="connsiteX18" fmla="*/ 1322999 w 3868865"/>
              <a:gd name="connsiteY18" fmla="*/ 311727 h 4030263"/>
              <a:gd name="connsiteX19" fmla="*/ 1787875 w 3868865"/>
              <a:gd name="connsiteY19" fmla="*/ 146173 h 4030263"/>
              <a:gd name="connsiteX20" fmla="*/ 2096858 w 3868865"/>
              <a:gd name="connsiteY20" fmla="*/ 3 h 4030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865" h="4030263">
                <a:moveTo>
                  <a:pt x="2096858" y="3"/>
                </a:moveTo>
                <a:cubicBezTo>
                  <a:pt x="2313295" y="-532"/>
                  <a:pt x="2585588" y="95046"/>
                  <a:pt x="2819851" y="95046"/>
                </a:cubicBezTo>
                <a:cubicBezTo>
                  <a:pt x="3399121" y="95046"/>
                  <a:pt x="3868865" y="564927"/>
                  <a:pt x="3868865" y="1144367"/>
                </a:cubicBezTo>
                <a:cubicBezTo>
                  <a:pt x="3868865" y="1344006"/>
                  <a:pt x="3812885" y="1531472"/>
                  <a:pt x="3716746" y="1689723"/>
                </a:cubicBezTo>
                <a:cubicBezTo>
                  <a:pt x="3638861" y="1843104"/>
                  <a:pt x="3636427" y="2031787"/>
                  <a:pt x="3728915" y="2192472"/>
                </a:cubicBezTo>
                <a:cubicBezTo>
                  <a:pt x="3792197" y="2302030"/>
                  <a:pt x="3816536" y="2435934"/>
                  <a:pt x="3786112" y="2571056"/>
                </a:cubicBezTo>
                <a:cubicBezTo>
                  <a:pt x="3753254" y="2719568"/>
                  <a:pt x="3659549" y="2838864"/>
                  <a:pt x="3536637" y="2909468"/>
                </a:cubicBezTo>
                <a:cubicBezTo>
                  <a:pt x="3536637" y="2909468"/>
                  <a:pt x="3536637" y="2909468"/>
                  <a:pt x="2627573" y="3435346"/>
                </a:cubicBezTo>
                <a:cubicBezTo>
                  <a:pt x="2623922" y="3436564"/>
                  <a:pt x="2620271" y="3438998"/>
                  <a:pt x="2616620" y="3440215"/>
                </a:cubicBezTo>
                <a:cubicBezTo>
                  <a:pt x="2616620" y="3440215"/>
                  <a:pt x="2616620" y="3440215"/>
                  <a:pt x="2606885" y="3446302"/>
                </a:cubicBezTo>
                <a:cubicBezTo>
                  <a:pt x="2606885" y="3446302"/>
                  <a:pt x="2606885" y="3446302"/>
                  <a:pt x="1718509" y="3960007"/>
                </a:cubicBezTo>
                <a:cubicBezTo>
                  <a:pt x="1467816" y="4104867"/>
                  <a:pt x="1146541" y="4018438"/>
                  <a:pt x="1001723" y="3767672"/>
                </a:cubicBezTo>
                <a:cubicBezTo>
                  <a:pt x="904367" y="3598466"/>
                  <a:pt x="716956" y="3509602"/>
                  <a:pt x="808228" y="3352569"/>
                </a:cubicBezTo>
                <a:cubicBezTo>
                  <a:pt x="953045" y="3101803"/>
                  <a:pt x="197317" y="2746348"/>
                  <a:pt x="196100" y="2746348"/>
                </a:cubicBezTo>
                <a:cubicBezTo>
                  <a:pt x="-93535" y="2746348"/>
                  <a:pt x="23293" y="2219253"/>
                  <a:pt x="23293" y="1929533"/>
                </a:cubicBezTo>
                <a:cubicBezTo>
                  <a:pt x="23293" y="1929533"/>
                  <a:pt x="23293" y="1929533"/>
                  <a:pt x="20859" y="878994"/>
                </a:cubicBezTo>
                <a:cubicBezTo>
                  <a:pt x="20859" y="790130"/>
                  <a:pt x="43981" y="700049"/>
                  <a:pt x="91442" y="617272"/>
                </a:cubicBezTo>
                <a:cubicBezTo>
                  <a:pt x="236260" y="365289"/>
                  <a:pt x="557535" y="280077"/>
                  <a:pt x="808228" y="424937"/>
                </a:cubicBezTo>
                <a:cubicBezTo>
                  <a:pt x="808228" y="424937"/>
                  <a:pt x="808228" y="424937"/>
                  <a:pt x="1322999" y="311727"/>
                </a:cubicBezTo>
                <a:cubicBezTo>
                  <a:pt x="1460515" y="281294"/>
                  <a:pt x="1780573" y="155911"/>
                  <a:pt x="1787875" y="146173"/>
                </a:cubicBezTo>
                <a:cubicBezTo>
                  <a:pt x="1857242" y="35245"/>
                  <a:pt x="1966996" y="324"/>
                  <a:pt x="2096858" y="3"/>
                </a:cubicBezTo>
                <a:close/>
              </a:path>
            </a:pathLst>
          </a:custGeom>
        </p:spPr>
        <p:txBody>
          <a:bodyPr wrap="square" tIns="180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3058528"/>
      </p:ext>
    </p:extLst>
  </p:cSld>
  <p:clrMapOvr>
    <a:masterClrMapping/>
  </p:clrMapOvr>
  <p:hf hd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yellow and orange curved object&#10;&#10;Description automatically generated">
            <a:extLst>
              <a:ext uri="{FF2B5EF4-FFF2-40B4-BE49-F238E27FC236}">
                <a16:creationId xmlns:a16="http://schemas.microsoft.com/office/drawing/2014/main" id="{57483916-EB2E-87DB-98E8-A966CED58C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8842" y="4776791"/>
            <a:ext cx="3348165" cy="2081210"/>
          </a:xfrm>
          <a:prstGeom prst="rect">
            <a:avLst/>
          </a:prstGeom>
        </p:spPr>
      </p:pic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66138527-5471-FB55-B600-1CDB5D0A4267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428529" y="0"/>
            <a:ext cx="6763471" cy="6858000"/>
          </a:xfrm>
          <a:custGeom>
            <a:avLst/>
            <a:gdLst>
              <a:gd name="connsiteX0" fmla="*/ 377459 w 3359817"/>
              <a:gd name="connsiteY0" fmla="*/ 0 h 3406775"/>
              <a:gd name="connsiteX1" fmla="*/ 3359817 w 3359817"/>
              <a:gd name="connsiteY1" fmla="*/ 0 h 3406775"/>
              <a:gd name="connsiteX2" fmla="*/ 3359817 w 3359817"/>
              <a:gd name="connsiteY2" fmla="*/ 3406775 h 3406775"/>
              <a:gd name="connsiteX3" fmla="*/ 2223681 w 3359817"/>
              <a:gd name="connsiteY3" fmla="*/ 3406775 h 3406775"/>
              <a:gd name="connsiteX4" fmla="*/ 740392 w 3359817"/>
              <a:gd name="connsiteY4" fmla="*/ 2562967 h 3406775"/>
              <a:gd name="connsiteX5" fmla="*/ 46086 w 3359817"/>
              <a:gd name="connsiteY5" fmla="*/ 1939969 h 3406775"/>
              <a:gd name="connsiteX6" fmla="*/ 235442 w 3359817"/>
              <a:gd name="connsiteY6" fmla="*/ 1033073 h 3406775"/>
              <a:gd name="connsiteX7" fmla="*/ 424798 w 3359817"/>
              <a:gd name="connsiteY7" fmla="*/ 126177 h 3406775"/>
              <a:gd name="connsiteX8" fmla="*/ 377459 w 3359817"/>
              <a:gd name="connsiteY8" fmla="*/ 0 h 340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9817" h="3406775">
                <a:moveTo>
                  <a:pt x="377459" y="0"/>
                </a:moveTo>
                <a:lnTo>
                  <a:pt x="3359817" y="0"/>
                </a:lnTo>
                <a:cubicBezTo>
                  <a:pt x="3359817" y="3406775"/>
                  <a:pt x="3359817" y="3406775"/>
                  <a:pt x="3359817" y="3406775"/>
                </a:cubicBezTo>
                <a:cubicBezTo>
                  <a:pt x="2223681" y="3406775"/>
                  <a:pt x="2223681" y="3406775"/>
                  <a:pt x="2223681" y="3406775"/>
                </a:cubicBezTo>
                <a:cubicBezTo>
                  <a:pt x="1837079" y="2980928"/>
                  <a:pt x="1324239" y="2681258"/>
                  <a:pt x="740392" y="2562967"/>
                </a:cubicBezTo>
                <a:cubicBezTo>
                  <a:pt x="416908" y="2491993"/>
                  <a:pt x="148654" y="2255411"/>
                  <a:pt x="46086" y="1939969"/>
                </a:cubicBezTo>
                <a:cubicBezTo>
                  <a:pt x="-56482" y="1624527"/>
                  <a:pt x="14527" y="1277541"/>
                  <a:pt x="235442" y="1033073"/>
                </a:cubicBezTo>
                <a:cubicBezTo>
                  <a:pt x="456358" y="788605"/>
                  <a:pt x="535256" y="441619"/>
                  <a:pt x="424798" y="126177"/>
                </a:cubicBezTo>
                <a:cubicBezTo>
                  <a:pt x="416908" y="78861"/>
                  <a:pt x="393239" y="39430"/>
                  <a:pt x="377459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836" y="698400"/>
            <a:ext cx="5614985" cy="5004000"/>
          </a:xfrm>
        </p:spPr>
        <p:txBody>
          <a:bodyPr>
            <a:normAutofit/>
          </a:bodyPr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5pPr>
          </a:lstStyle>
          <a:p>
            <a:pPr lvl="0"/>
            <a:r>
              <a:rPr lang="en-US" noProof="0"/>
              <a:t>“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D93DC24-9723-62C8-F4D6-B9024A75AC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22416737"/>
      </p:ext>
    </p:extLst>
  </p:cSld>
  <p:clrMapOvr>
    <a:masterClrMapping/>
  </p:clrMapOvr>
  <p:hf sldNum="0"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lorful circles on a black background&#10;&#10;Description automatically generated">
            <a:extLst>
              <a:ext uri="{FF2B5EF4-FFF2-40B4-BE49-F238E27FC236}">
                <a16:creationId xmlns:a16="http://schemas.microsoft.com/office/drawing/2014/main" id="{CCEFF532-0F9A-0488-86B3-7965977CFD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9500" y="0"/>
            <a:ext cx="47625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836" y="698400"/>
            <a:ext cx="5614985" cy="5004000"/>
          </a:xfrm>
        </p:spPr>
        <p:txBody>
          <a:bodyPr>
            <a:normAutofit/>
          </a:bodyPr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02068"/>
                </a:solidFill>
              </a:defRPr>
            </a:lvl5pPr>
          </a:lstStyle>
          <a:p>
            <a:pPr lvl="0"/>
            <a:r>
              <a:rPr lang="en-US" noProof="0"/>
              <a:t>“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D93DC24-9723-62C8-F4D6-B9024A75AC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62302570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040000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5040000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15" name="Picture 14" descr="A colorful shapes on a black background&#10;&#10;Description automatically generated">
            <a:extLst>
              <a:ext uri="{FF2B5EF4-FFF2-40B4-BE49-F238E27FC236}">
                <a16:creationId xmlns:a16="http://schemas.microsoft.com/office/drawing/2014/main" id="{A3B3504A-642D-2098-B6A7-BF3E24CA62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8822" y="-4713"/>
            <a:ext cx="6232604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C248D9A-D268-4E9D-6415-1972371EC3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05337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3026004"/>
            <a:ext cx="3562350" cy="3025546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75F0A8D-0120-75B1-B12F-5E64C97F259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06900" y="3026004"/>
            <a:ext cx="3562350" cy="3025546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041B38E8-6A7F-0F95-D2F5-B1112565052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4626" y="3026004"/>
            <a:ext cx="3562350" cy="3025546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D4AF94E-695F-27BB-AE3B-C84EADC2889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532800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54402087-7467-27FD-561D-E2965002769E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4326163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29385420-6F31-EC68-9C2D-7259D954F02B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8119526" y="1497600"/>
            <a:ext cx="1173600" cy="11736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2E6770A-1D4D-AD1F-F2F7-085CEBCF79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9901977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56BABC-2963-28E2-5B08-F41D44CAB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30324" y="1564849"/>
            <a:ext cx="3562350" cy="1262489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2B7FAE0-3A20-3BA3-BBC0-9EF931A4140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1830324" y="3040144"/>
            <a:ext cx="3562350" cy="1262489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BE7DE02-9488-C606-02DD-66DBAE64E2D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830324" y="4688498"/>
            <a:ext cx="3562350" cy="1262489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1D61909-44A1-96C5-24EC-29733C083C5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542968" y="1564849"/>
            <a:ext cx="3562350" cy="1262489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8F03D7E-D948-AE8B-6268-D0445FA4845C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7542968" y="3040144"/>
            <a:ext cx="3562350" cy="1262489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4A89A1F-F10B-C531-B279-7F71EB330ED8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542968" y="4688498"/>
            <a:ext cx="3562350" cy="1262489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800"/>
            </a:lvl1pPr>
            <a:lvl2pPr>
              <a:spcBef>
                <a:spcPts val="600"/>
              </a:spcBef>
              <a:defRPr sz="1800"/>
            </a:lvl2pPr>
            <a:lvl3pPr marL="184150" indent="-184150">
              <a:spcBef>
                <a:spcPts val="500"/>
              </a:spcBef>
              <a:defRPr sz="1800"/>
            </a:lvl3pPr>
            <a:lvl4pPr marL="412750" indent="-222250">
              <a:spcBef>
                <a:spcPts val="500"/>
              </a:spcBef>
              <a:defRPr sz="1600"/>
            </a:lvl4pPr>
            <a:lvl5pPr marL="650875" indent="-222250">
              <a:spcBef>
                <a:spcPts val="500"/>
              </a:spcBef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9" name="Picture Placeholder 11">
            <a:extLst>
              <a:ext uri="{FF2B5EF4-FFF2-40B4-BE49-F238E27FC236}">
                <a16:creationId xmlns:a16="http://schemas.microsoft.com/office/drawing/2014/main" id="{F107629B-0875-A1BC-15AB-C67AC1624DC0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5364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11">
            <a:extLst>
              <a:ext uri="{FF2B5EF4-FFF2-40B4-BE49-F238E27FC236}">
                <a16:creationId xmlns:a16="http://schemas.microsoft.com/office/drawing/2014/main" id="{49B4C2D4-3903-C213-FD24-64CE96C1979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5364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11">
            <a:extLst>
              <a:ext uri="{FF2B5EF4-FFF2-40B4-BE49-F238E27FC236}">
                <a16:creationId xmlns:a16="http://schemas.microsoft.com/office/drawing/2014/main" id="{678E3C09-3971-E762-E888-4774BB750A4A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5364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11">
            <a:extLst>
              <a:ext uri="{FF2B5EF4-FFF2-40B4-BE49-F238E27FC236}">
                <a16:creationId xmlns:a16="http://schemas.microsoft.com/office/drawing/2014/main" id="{FD5D5F0F-3A8C-9DD5-15CE-6B7C3E9DB5BB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238800" y="1540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Picture Placeholder 11">
            <a:extLst>
              <a:ext uri="{FF2B5EF4-FFF2-40B4-BE49-F238E27FC236}">
                <a16:creationId xmlns:a16="http://schemas.microsoft.com/office/drawing/2014/main" id="{780CB698-AA0E-BBD2-304B-B4C34811DE8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238800" y="30168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Picture Placeholder 11">
            <a:extLst>
              <a:ext uri="{FF2B5EF4-FFF2-40B4-BE49-F238E27FC236}">
                <a16:creationId xmlns:a16="http://schemas.microsoft.com/office/drawing/2014/main" id="{C2BCE056-E4A2-EC44-5C8D-36D0C79AB593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238800" y="4662000"/>
            <a:ext cx="1008000" cy="1008000"/>
          </a:xfrm>
        </p:spPr>
        <p:txBody>
          <a:bodyPr/>
          <a:lstStyle>
            <a:lvl1pPr>
              <a:defRPr sz="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A31338B-0823-6532-C45C-F95060AF7B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722516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E5924D82-B442-36B8-3020-4B80CF88B468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310313" y="385763"/>
            <a:ext cx="5462587" cy="5665787"/>
          </a:xfrm>
        </p:spPr>
        <p:txBody>
          <a:bodyPr/>
          <a:lstStyle>
            <a:lvl1pPr>
              <a:defRPr sz="1400" b="0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E06E48C0-76C8-28BD-C1B7-163ED41712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add footnote or delete text box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98B935A-2F64-9B30-B028-533AFFCD81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82943090"/>
      </p:ext>
    </p:extLst>
  </p:cSld>
  <p:clrMapOvr>
    <a:masterClrMapping/>
  </p:clrMapOvr>
  <p:hf hd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able Placeholder 9">
            <a:extLst>
              <a:ext uri="{FF2B5EF4-FFF2-40B4-BE49-F238E27FC236}">
                <a16:creationId xmlns:a16="http://schemas.microsoft.com/office/drawing/2014/main" id="{23A5ABD4-0980-C4E1-2D35-C1A5E7B7C5AF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310313" y="1947863"/>
            <a:ext cx="5462587" cy="4103687"/>
          </a:xfrm>
        </p:spPr>
        <p:txBody>
          <a:bodyPr>
            <a:normAutofit/>
          </a:bodyPr>
          <a:lstStyle>
            <a:lvl1pPr>
              <a:defRPr sz="1400" b="0"/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10D3C37-C70E-A0DC-24F2-9973C328C5EF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13051" y="1573620"/>
            <a:ext cx="4770000" cy="336144"/>
          </a:xfrm>
        </p:spPr>
        <p:txBody>
          <a:bodyPr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CA4EA38-F567-390A-BFCA-BAFFDD3657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add footnote or delete text box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A10CA66-7402-A280-D0B7-C8DFD634EA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02983862"/>
      </p:ext>
    </p:extLst>
  </p:cSld>
  <p:clrMapOvr>
    <a:masterClrMapping/>
  </p:clrMapOvr>
  <p:hf hd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4770000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73619"/>
            <a:ext cx="4770000" cy="4477931"/>
          </a:xfrm>
        </p:spPr>
        <p:txBody>
          <a:bodyPr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489E1D8-D4B0-C77A-AB21-F17122178A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9" y="5464175"/>
            <a:ext cx="4770000" cy="587375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add footnote or delete text box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373A851-41FB-11CE-7794-1E1CC5D0D8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54200645"/>
      </p:ext>
    </p:extLst>
  </p:cSld>
  <p:clrMapOvr>
    <a:masterClrMapping/>
  </p:clrMapOvr>
  <p:hf hd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38A58-465D-29BC-3745-035187C7C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7364412" cy="1065278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AF2D71-F647-C342-B16D-56C6AF9BC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4B384-59B0-AF00-1B1B-6C83719C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C29F56FE-6896-93B5-300C-73E8064C8D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838" y="5464175"/>
            <a:ext cx="9267825" cy="587375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add footnote or delete text box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B95F338-020C-AD1A-58C0-1E2252F80F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8014517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254124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 and black background&#10;&#10;Description automatically generated">
            <a:extLst>
              <a:ext uri="{FF2B5EF4-FFF2-40B4-BE49-F238E27FC236}">
                <a16:creationId xmlns:a16="http://schemas.microsoft.com/office/drawing/2014/main" id="{A0CB5D0A-51F7-B26F-7F31-F6DE564688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0"/>
            <a:ext cx="43434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E686FA-8940-A88B-138F-B4BB47A6D0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3054680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and red circle&#10;&#10;Description automatically generated">
            <a:extLst>
              <a:ext uri="{FF2B5EF4-FFF2-40B4-BE49-F238E27FC236}">
                <a16:creationId xmlns:a16="http://schemas.microsoft.com/office/drawing/2014/main" id="{5410D678-9687-A042-D775-92BC6ABD94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2100" y="0"/>
            <a:ext cx="17399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E686FA-8940-A88B-138F-B4BB47A6D0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2744999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yellow and orange curved object&#10;&#10;Description automatically generated">
            <a:extLst>
              <a:ext uri="{FF2B5EF4-FFF2-40B4-BE49-F238E27FC236}">
                <a16:creationId xmlns:a16="http://schemas.microsoft.com/office/drawing/2014/main" id="{DC0324F7-D5A3-B683-26D9-09630AC751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8842" y="4776791"/>
            <a:ext cx="3348165" cy="2081210"/>
          </a:xfrm>
          <a:prstGeom prst="rect">
            <a:avLst/>
          </a:prstGeom>
        </p:spPr>
      </p:pic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E425BEBA-A534-F7E4-3ACD-720101319137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428529" y="0"/>
            <a:ext cx="6763471" cy="6858000"/>
          </a:xfrm>
          <a:custGeom>
            <a:avLst/>
            <a:gdLst>
              <a:gd name="connsiteX0" fmla="*/ 377459 w 3359817"/>
              <a:gd name="connsiteY0" fmla="*/ 0 h 3406775"/>
              <a:gd name="connsiteX1" fmla="*/ 3359817 w 3359817"/>
              <a:gd name="connsiteY1" fmla="*/ 0 h 3406775"/>
              <a:gd name="connsiteX2" fmla="*/ 3359817 w 3359817"/>
              <a:gd name="connsiteY2" fmla="*/ 3406775 h 3406775"/>
              <a:gd name="connsiteX3" fmla="*/ 2223681 w 3359817"/>
              <a:gd name="connsiteY3" fmla="*/ 3406775 h 3406775"/>
              <a:gd name="connsiteX4" fmla="*/ 740392 w 3359817"/>
              <a:gd name="connsiteY4" fmla="*/ 2562967 h 3406775"/>
              <a:gd name="connsiteX5" fmla="*/ 46086 w 3359817"/>
              <a:gd name="connsiteY5" fmla="*/ 1939969 h 3406775"/>
              <a:gd name="connsiteX6" fmla="*/ 235442 w 3359817"/>
              <a:gd name="connsiteY6" fmla="*/ 1033073 h 3406775"/>
              <a:gd name="connsiteX7" fmla="*/ 424798 w 3359817"/>
              <a:gd name="connsiteY7" fmla="*/ 126177 h 3406775"/>
              <a:gd name="connsiteX8" fmla="*/ 377459 w 3359817"/>
              <a:gd name="connsiteY8" fmla="*/ 0 h 340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9817" h="3406775">
                <a:moveTo>
                  <a:pt x="377459" y="0"/>
                </a:moveTo>
                <a:lnTo>
                  <a:pt x="3359817" y="0"/>
                </a:lnTo>
                <a:cubicBezTo>
                  <a:pt x="3359817" y="3406775"/>
                  <a:pt x="3359817" y="3406775"/>
                  <a:pt x="3359817" y="3406775"/>
                </a:cubicBezTo>
                <a:cubicBezTo>
                  <a:pt x="2223681" y="3406775"/>
                  <a:pt x="2223681" y="3406775"/>
                  <a:pt x="2223681" y="3406775"/>
                </a:cubicBezTo>
                <a:cubicBezTo>
                  <a:pt x="1837079" y="2980928"/>
                  <a:pt x="1324239" y="2681258"/>
                  <a:pt x="740392" y="2562967"/>
                </a:cubicBezTo>
                <a:cubicBezTo>
                  <a:pt x="416908" y="2491993"/>
                  <a:pt x="148654" y="2255411"/>
                  <a:pt x="46086" y="1939969"/>
                </a:cubicBezTo>
                <a:cubicBezTo>
                  <a:pt x="-56482" y="1624527"/>
                  <a:pt x="14527" y="1277541"/>
                  <a:pt x="235442" y="1033073"/>
                </a:cubicBezTo>
                <a:cubicBezTo>
                  <a:pt x="456358" y="788605"/>
                  <a:pt x="535256" y="441619"/>
                  <a:pt x="424798" y="126177"/>
                </a:cubicBezTo>
                <a:cubicBezTo>
                  <a:pt x="416908" y="78861"/>
                  <a:pt x="393239" y="39430"/>
                  <a:pt x="377459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143DEFF-7B37-AEB7-BAB3-BA96DA8780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758439"/>
            <a:ext cx="5465762" cy="2280285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57D66186-3CF2-1211-7819-DF6B04FF02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8" y="338018"/>
            <a:ext cx="3802062" cy="125317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spcBef>
                <a:spcPts val="0"/>
              </a:spcBef>
              <a:defRPr sz="2000">
                <a:solidFill>
                  <a:srgbClr val="0460A9"/>
                </a:solidFill>
              </a:defRPr>
            </a:lvl2pPr>
            <a:lvl3pPr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E686FA-8940-A88B-138F-B4BB47A6D0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3879585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blots on a white background&#10;&#10;Description automatically generated">
            <a:extLst>
              <a:ext uri="{FF2B5EF4-FFF2-40B4-BE49-F238E27FC236}">
                <a16:creationId xmlns:a16="http://schemas.microsoft.com/office/drawing/2014/main" id="{38AE2E2E-B5FC-5672-3429-3E8A6AB109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" y="0"/>
            <a:ext cx="1218996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547446"/>
            <a:ext cx="5040000" cy="114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2803490"/>
            <a:ext cx="5040000" cy="1009685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D570220-4AD5-881C-771E-B6B519D7DB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062644" y="166948"/>
            <a:ext cx="2030412" cy="1387210"/>
          </a:xfrm>
        </p:spPr>
        <p:txBody>
          <a:bodyPr/>
          <a:lstStyle>
            <a:lvl1pPr>
              <a:defRPr sz="9600" b="0" spc="-300">
                <a:solidFill>
                  <a:srgbClr val="002068"/>
                </a:solidFill>
              </a:defRPr>
            </a:lvl1pPr>
          </a:lstStyle>
          <a:p>
            <a:pPr lvl="0"/>
            <a:r>
              <a:rPr lang="en-GB"/>
              <a:t>#.#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E165585-72E5-0935-2895-827D52B47E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9949554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C6F0B4F-BE9C-C410-D151-E3F0FF8BACA4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3224163" y="-1"/>
            <a:ext cx="8967837" cy="6858000"/>
          </a:xfrm>
          <a:custGeom>
            <a:avLst/>
            <a:gdLst>
              <a:gd name="connsiteX0" fmla="*/ 0 w 6869113"/>
              <a:gd name="connsiteY0" fmla="*/ 0 h 5253037"/>
              <a:gd name="connsiteX1" fmla="*/ 6869113 w 6869113"/>
              <a:gd name="connsiteY1" fmla="*/ 0 h 5253037"/>
              <a:gd name="connsiteX2" fmla="*/ 6869113 w 6869113"/>
              <a:gd name="connsiteY2" fmla="*/ 5253037 h 5253037"/>
              <a:gd name="connsiteX3" fmla="*/ 1750402 w 6869113"/>
              <a:gd name="connsiteY3" fmla="*/ 5253037 h 5253037"/>
              <a:gd name="connsiteX4" fmla="*/ 2566041 w 6869113"/>
              <a:gd name="connsiteY4" fmla="*/ 2897682 h 5253037"/>
              <a:gd name="connsiteX5" fmla="*/ 2632897 w 6869113"/>
              <a:gd name="connsiteY5" fmla="*/ 2704341 h 5253037"/>
              <a:gd name="connsiteX6" fmla="*/ 2632897 w 6869113"/>
              <a:gd name="connsiteY6" fmla="*/ 2703125 h 5253037"/>
              <a:gd name="connsiteX7" fmla="*/ 2665717 w 6869113"/>
              <a:gd name="connsiteY7" fmla="*/ 2538968 h 5253037"/>
              <a:gd name="connsiteX8" fmla="*/ 2680303 w 6869113"/>
              <a:gd name="connsiteY8" fmla="*/ 2345627 h 5253037"/>
              <a:gd name="connsiteX9" fmla="*/ 2666932 w 6869113"/>
              <a:gd name="connsiteY9" fmla="*/ 2151070 h 5253037"/>
              <a:gd name="connsiteX10" fmla="*/ 2634112 w 6869113"/>
              <a:gd name="connsiteY10" fmla="*/ 1988129 h 5253037"/>
              <a:gd name="connsiteX11" fmla="*/ 2611017 w 6869113"/>
              <a:gd name="connsiteY11" fmla="*/ 1911522 h 5253037"/>
              <a:gd name="connsiteX12" fmla="*/ 2495539 w 6869113"/>
              <a:gd name="connsiteY12" fmla="*/ 1656166 h 5253037"/>
              <a:gd name="connsiteX13" fmla="*/ 2275523 w 6869113"/>
              <a:gd name="connsiteY13" fmla="*/ 1370411 h 5253037"/>
              <a:gd name="connsiteX14" fmla="*/ 1991083 w 6869113"/>
              <a:gd name="connsiteY14" fmla="*/ 1150318 h 5253037"/>
              <a:gd name="connsiteX15" fmla="*/ 0 w 6869113"/>
              <a:gd name="connsiteY15" fmla="*/ 0 h 525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869113" h="5253037">
                <a:moveTo>
                  <a:pt x="0" y="0"/>
                </a:moveTo>
                <a:cubicBezTo>
                  <a:pt x="0" y="0"/>
                  <a:pt x="0" y="0"/>
                  <a:pt x="6869113" y="0"/>
                </a:cubicBezTo>
                <a:lnTo>
                  <a:pt x="6869113" y="5253037"/>
                </a:lnTo>
                <a:cubicBezTo>
                  <a:pt x="6869113" y="5253037"/>
                  <a:pt x="6869113" y="5253037"/>
                  <a:pt x="1750402" y="5253037"/>
                </a:cubicBezTo>
                <a:cubicBezTo>
                  <a:pt x="1750402" y="5253037"/>
                  <a:pt x="1750402" y="5253037"/>
                  <a:pt x="2566041" y="2897682"/>
                </a:cubicBezTo>
                <a:cubicBezTo>
                  <a:pt x="2592783" y="2834451"/>
                  <a:pt x="2614663" y="2770004"/>
                  <a:pt x="2632897" y="2704341"/>
                </a:cubicBezTo>
                <a:cubicBezTo>
                  <a:pt x="2632897" y="2704341"/>
                  <a:pt x="2632897" y="2703125"/>
                  <a:pt x="2632897" y="2703125"/>
                </a:cubicBezTo>
                <a:cubicBezTo>
                  <a:pt x="2647483" y="2648406"/>
                  <a:pt x="2658423" y="2593687"/>
                  <a:pt x="2665717" y="2538968"/>
                </a:cubicBezTo>
                <a:cubicBezTo>
                  <a:pt x="2675441" y="2474521"/>
                  <a:pt x="2680303" y="2410074"/>
                  <a:pt x="2680303" y="2345627"/>
                </a:cubicBezTo>
                <a:cubicBezTo>
                  <a:pt x="2680303" y="2279964"/>
                  <a:pt x="2675441" y="2215517"/>
                  <a:pt x="2666932" y="2151070"/>
                </a:cubicBezTo>
                <a:cubicBezTo>
                  <a:pt x="2658423" y="2096351"/>
                  <a:pt x="2648699" y="2041632"/>
                  <a:pt x="2634112" y="1988129"/>
                </a:cubicBezTo>
                <a:cubicBezTo>
                  <a:pt x="2626819" y="1962593"/>
                  <a:pt x="2619526" y="1937058"/>
                  <a:pt x="2611017" y="1911522"/>
                </a:cubicBezTo>
                <a:cubicBezTo>
                  <a:pt x="2580628" y="1822755"/>
                  <a:pt x="2541730" y="1737637"/>
                  <a:pt x="2495539" y="1656166"/>
                </a:cubicBezTo>
                <a:cubicBezTo>
                  <a:pt x="2435976" y="1552808"/>
                  <a:pt x="2363043" y="1456745"/>
                  <a:pt x="2275523" y="1370411"/>
                </a:cubicBezTo>
                <a:cubicBezTo>
                  <a:pt x="2192865" y="1286508"/>
                  <a:pt x="2098052" y="1212333"/>
                  <a:pt x="1991083" y="1150318"/>
                </a:cubicBezTo>
                <a:cubicBezTo>
                  <a:pt x="1991083" y="1150318"/>
                  <a:pt x="1991083" y="1150318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6665"/>
            <a:ext cx="5465762" cy="1047751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eam Check-in: Reviewing Progress on the Team Priority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E63B41E-B889-7E52-0B82-60E5AE5F48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42088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olorful gradient on a white background&#10;&#10;Description automatically generated">
            <a:extLst>
              <a:ext uri="{FF2B5EF4-FFF2-40B4-BE49-F238E27FC236}">
                <a16:creationId xmlns:a16="http://schemas.microsoft.com/office/drawing/2014/main" id="{BE488759-E3E9-A6FC-71CC-4B41E86D47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086856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3625" y="300038"/>
            <a:ext cx="5614985" cy="5751512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0EB4079-A5FD-C3C8-29D8-4AFFAD91CC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5814479" cy="5895975"/>
          </a:xfrm>
          <a:custGeom>
            <a:avLst/>
            <a:gdLst>
              <a:gd name="connsiteX0" fmla="*/ 2035735 w 3796509"/>
              <a:gd name="connsiteY0" fmla="*/ 0 h 3849721"/>
              <a:gd name="connsiteX1" fmla="*/ 3026232 w 3796509"/>
              <a:gd name="connsiteY1" fmla="*/ 0 h 3849721"/>
              <a:gd name="connsiteX2" fmla="*/ 3033499 w 3796509"/>
              <a:gd name="connsiteY2" fmla="*/ 9346 h 3849721"/>
              <a:gd name="connsiteX3" fmla="*/ 3036614 w 3796509"/>
              <a:gd name="connsiteY3" fmla="*/ 13500 h 3849721"/>
              <a:gd name="connsiteX4" fmla="*/ 3043882 w 3796509"/>
              <a:gd name="connsiteY4" fmla="*/ 23884 h 3849721"/>
              <a:gd name="connsiteX5" fmla="*/ 3048035 w 3796509"/>
              <a:gd name="connsiteY5" fmla="*/ 29076 h 3849721"/>
              <a:gd name="connsiteX6" fmla="*/ 3061532 w 3796509"/>
              <a:gd name="connsiteY6" fmla="*/ 49844 h 3849721"/>
              <a:gd name="connsiteX7" fmla="*/ 3063609 w 3796509"/>
              <a:gd name="connsiteY7" fmla="*/ 52960 h 3849721"/>
              <a:gd name="connsiteX8" fmla="*/ 3079183 w 3796509"/>
              <a:gd name="connsiteY8" fmla="*/ 77882 h 3849721"/>
              <a:gd name="connsiteX9" fmla="*/ 3711481 w 3796509"/>
              <a:gd name="connsiteY9" fmla="*/ 1173416 h 3849721"/>
              <a:gd name="connsiteX10" fmla="*/ 3767547 w 3796509"/>
              <a:gd name="connsiteY10" fmla="*/ 1678089 h 3849721"/>
              <a:gd name="connsiteX11" fmla="*/ 3478911 w 3796509"/>
              <a:gd name="connsiteY11" fmla="*/ 2038421 h 3849721"/>
              <a:gd name="connsiteX12" fmla="*/ 3164320 w 3796509"/>
              <a:gd name="connsiteY12" fmla="*/ 2555555 h 3849721"/>
              <a:gd name="connsiteX13" fmla="*/ 2995084 w 3796509"/>
              <a:gd name="connsiteY13" fmla="*/ 3217030 h 3849721"/>
              <a:gd name="connsiteX14" fmla="*/ 1266387 w 3796509"/>
              <a:gd name="connsiteY14" fmla="*/ 3680166 h 3849721"/>
              <a:gd name="connsiteX15" fmla="*/ 634089 w 3796509"/>
              <a:gd name="connsiteY15" fmla="*/ 2629283 h 3849721"/>
              <a:gd name="connsiteX16" fmla="*/ 633051 w 3796509"/>
              <a:gd name="connsiteY16" fmla="*/ 2586708 h 3849721"/>
              <a:gd name="connsiteX17" fmla="*/ 430591 w 3796509"/>
              <a:gd name="connsiteY17" fmla="*/ 2123572 h 3849721"/>
              <a:gd name="connsiteX18" fmla="*/ 348569 w 3796509"/>
              <a:gd name="connsiteY18" fmla="*/ 2058151 h 3849721"/>
              <a:gd name="connsiteX19" fmla="*/ 345454 w 3796509"/>
              <a:gd name="connsiteY19" fmla="*/ 2056075 h 3849721"/>
              <a:gd name="connsiteX20" fmla="*/ 334033 w 3796509"/>
              <a:gd name="connsiteY20" fmla="*/ 2048806 h 3849721"/>
              <a:gd name="connsiteX21" fmla="*/ 317421 w 3796509"/>
              <a:gd name="connsiteY21" fmla="*/ 2039460 h 3849721"/>
              <a:gd name="connsiteX22" fmla="*/ 84851 w 3796509"/>
              <a:gd name="connsiteY22" fmla="*/ 1173416 h 3849721"/>
              <a:gd name="connsiteX23" fmla="*/ 948681 w 3796509"/>
              <a:gd name="connsiteY23" fmla="*/ 941848 h 3849721"/>
              <a:gd name="connsiteX24" fmla="*/ 1265349 w 3796509"/>
              <a:gd name="connsiteY24" fmla="*/ 1026999 h 3849721"/>
              <a:gd name="connsiteX25" fmla="*/ 1897647 w 3796509"/>
              <a:gd name="connsiteY25" fmla="*/ 395639 h 3849721"/>
              <a:gd name="connsiteX26" fmla="*/ 2035735 w 3796509"/>
              <a:gd name="connsiteY26" fmla="*/ 0 h 3849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796509" h="3849721">
                <a:moveTo>
                  <a:pt x="2035735" y="0"/>
                </a:moveTo>
                <a:cubicBezTo>
                  <a:pt x="2035735" y="0"/>
                  <a:pt x="2035735" y="0"/>
                  <a:pt x="3026232" y="0"/>
                </a:cubicBezTo>
                <a:cubicBezTo>
                  <a:pt x="3028308" y="3115"/>
                  <a:pt x="3031423" y="6231"/>
                  <a:pt x="3033499" y="9346"/>
                </a:cubicBezTo>
                <a:cubicBezTo>
                  <a:pt x="3034538" y="11423"/>
                  <a:pt x="3035576" y="12461"/>
                  <a:pt x="3036614" y="13500"/>
                </a:cubicBezTo>
                <a:cubicBezTo>
                  <a:pt x="3039729" y="16615"/>
                  <a:pt x="3041805" y="20769"/>
                  <a:pt x="3043882" y="23884"/>
                </a:cubicBezTo>
                <a:cubicBezTo>
                  <a:pt x="3045958" y="25961"/>
                  <a:pt x="3046997" y="26999"/>
                  <a:pt x="3048035" y="29076"/>
                </a:cubicBezTo>
                <a:cubicBezTo>
                  <a:pt x="3052188" y="36345"/>
                  <a:pt x="3057379" y="42575"/>
                  <a:pt x="3061532" y="49844"/>
                </a:cubicBezTo>
                <a:cubicBezTo>
                  <a:pt x="3062571" y="50883"/>
                  <a:pt x="3063609" y="51921"/>
                  <a:pt x="3063609" y="52960"/>
                </a:cubicBezTo>
                <a:cubicBezTo>
                  <a:pt x="3068800" y="61267"/>
                  <a:pt x="3073991" y="69574"/>
                  <a:pt x="3079183" y="77882"/>
                </a:cubicBezTo>
                <a:cubicBezTo>
                  <a:pt x="3079183" y="77882"/>
                  <a:pt x="3079183" y="77882"/>
                  <a:pt x="3711481" y="1173416"/>
                </a:cubicBezTo>
                <a:cubicBezTo>
                  <a:pt x="3796618" y="1321911"/>
                  <a:pt x="3822574" y="1502596"/>
                  <a:pt x="3767547" y="1678089"/>
                </a:cubicBezTo>
                <a:cubicBezTo>
                  <a:pt x="3718748" y="1836968"/>
                  <a:pt x="3612846" y="1961578"/>
                  <a:pt x="3478911" y="2038421"/>
                </a:cubicBezTo>
                <a:cubicBezTo>
                  <a:pt x="3286834" y="2150571"/>
                  <a:pt x="3174702" y="2347871"/>
                  <a:pt x="3164320" y="2555555"/>
                </a:cubicBezTo>
                <a:cubicBezTo>
                  <a:pt x="3169511" y="2779854"/>
                  <a:pt x="3115522" y="3008307"/>
                  <a:pt x="2995084" y="3217030"/>
                </a:cubicBezTo>
                <a:cubicBezTo>
                  <a:pt x="2645191" y="3822429"/>
                  <a:pt x="1871691" y="4029075"/>
                  <a:pt x="1266387" y="3680166"/>
                </a:cubicBezTo>
                <a:cubicBezTo>
                  <a:pt x="874965" y="3453790"/>
                  <a:pt x="649663" y="3049844"/>
                  <a:pt x="634089" y="2629283"/>
                </a:cubicBezTo>
                <a:cubicBezTo>
                  <a:pt x="633051" y="2614745"/>
                  <a:pt x="633051" y="2601246"/>
                  <a:pt x="633051" y="2586708"/>
                </a:cubicBezTo>
                <a:cubicBezTo>
                  <a:pt x="633051" y="2403946"/>
                  <a:pt x="555182" y="2238837"/>
                  <a:pt x="430591" y="2123572"/>
                </a:cubicBezTo>
                <a:cubicBezTo>
                  <a:pt x="405673" y="2099688"/>
                  <a:pt x="377640" y="2077881"/>
                  <a:pt x="348569" y="2058151"/>
                </a:cubicBezTo>
                <a:cubicBezTo>
                  <a:pt x="347530" y="2058151"/>
                  <a:pt x="346492" y="2057113"/>
                  <a:pt x="345454" y="2056075"/>
                </a:cubicBezTo>
                <a:cubicBezTo>
                  <a:pt x="341301" y="2053998"/>
                  <a:pt x="337148" y="2050882"/>
                  <a:pt x="334033" y="2048806"/>
                </a:cubicBezTo>
                <a:cubicBezTo>
                  <a:pt x="328842" y="2045690"/>
                  <a:pt x="322612" y="2042575"/>
                  <a:pt x="317421" y="2039460"/>
                </a:cubicBezTo>
                <a:cubicBezTo>
                  <a:pt x="15288" y="1865005"/>
                  <a:pt x="-90614" y="1476635"/>
                  <a:pt x="84851" y="1173416"/>
                </a:cubicBezTo>
                <a:cubicBezTo>
                  <a:pt x="259279" y="871236"/>
                  <a:pt x="646548" y="767394"/>
                  <a:pt x="948681" y="941848"/>
                </a:cubicBezTo>
                <a:cubicBezTo>
                  <a:pt x="1042124" y="995846"/>
                  <a:pt x="1151141" y="1026999"/>
                  <a:pt x="1265349" y="1026999"/>
                </a:cubicBezTo>
                <a:cubicBezTo>
                  <a:pt x="1614203" y="1026999"/>
                  <a:pt x="1897647" y="744548"/>
                  <a:pt x="1897647" y="395639"/>
                </a:cubicBezTo>
                <a:cubicBezTo>
                  <a:pt x="1897647" y="253375"/>
                  <a:pt x="1946445" y="113188"/>
                  <a:pt x="2035735" y="0"/>
                </a:cubicBezTo>
                <a:close/>
              </a:path>
            </a:pathLst>
          </a:custGeom>
        </p:spPr>
        <p:txBody>
          <a:bodyPr wrap="square" tIns="21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013477F-ACAC-7B41-B204-AC139F13B7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37954390"/>
      </p:ext>
    </p:extLst>
  </p:cSld>
  <p:clrMapOvr>
    <a:masterClrMapping/>
  </p:clrMapOvr>
  <p:hf hd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8FA04F-39BC-52E3-7717-225AD08A8D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676D95F-4BA9-6FC3-6CE4-34E7DC421BE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3843B4-B8A7-1C93-78B6-4BBB4A6B3F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F4184E-D7AA-4D16-A981-E60E58289739}" type="datetimeFigureOut">
              <a:rPr lang="en-US" smtClean="0"/>
              <a:t>5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8FC626-598F-41D4-A31D-1600C2FBE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2FB3F4-9B98-90B9-B155-B487753F29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6FD462-EAA7-41FD-AF00-3D9972801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427168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F7F22-3A68-04CB-DEDC-81A5D4F9D1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C2F1CB-510C-2C17-AC38-EA844116F80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DA3AA3-603B-855C-9F3C-9AF3B3CB3E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F4184E-D7AA-4D16-A981-E60E58289739}" type="datetimeFigureOut">
              <a:rPr lang="en-US" smtClean="0"/>
              <a:t>5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D8EA4E-4064-3F7D-3F69-48229EC4D6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5E06AE-CDEB-2BAD-583C-4CC74F5F28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6FD462-EAA7-41FD-AF00-3D9972801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507145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6D4405-F12F-077F-009A-21F8E5E7A6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E26CEA-0F13-E243-3B90-36754A7017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30913D-6190-2843-C265-B1AE45AB9E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F4184E-D7AA-4D16-A981-E60E58289739}" type="datetimeFigureOut">
              <a:rPr lang="en-US" smtClean="0"/>
              <a:t>5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53EF57-4205-BFC0-E60B-AA4DF9D6EE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AF0B3F-8B26-B846-66C8-AE7EDC7E0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6FD462-EAA7-41FD-AF00-3D9972801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85146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EC7A7F-F6BA-F683-086E-51769CF419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D1EE1F-6E3B-D2EC-3DDB-299817DB4C5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F31F772-E619-8B6A-716B-352D2F53D0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4B5B52-E45A-9760-EA4A-CCC9E9A627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F4184E-D7AA-4D16-A981-E60E58289739}" type="datetimeFigureOut">
              <a:rPr lang="en-US" smtClean="0"/>
              <a:t>5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7AB156B-B529-24F9-A3C2-BE3E25D93E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E62A01-B8E0-AC1D-171B-A97CE36351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6FD462-EAA7-41FD-AF00-3D9972801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15409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443900-61CC-6AAD-1E0B-A86B616087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6FF4AC-CBF4-DEDD-8B6C-B09E30DDF9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CAFCCCB-293A-B025-9C1F-D47E4612CD2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BA3FF76-A310-20DA-7E62-91C715B3C0B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127697A-6387-256D-CBD0-D61506CB1D0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D418F1-3EA1-0492-9678-90C7684550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F4184E-D7AA-4D16-A981-E60E58289739}" type="datetimeFigureOut">
              <a:rPr lang="en-US" smtClean="0"/>
              <a:t>5/16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5136BB4-15D9-0E8F-4146-28A71AAFB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D052CAB-A91F-F69A-75CD-38657E5D4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6FD462-EAA7-41FD-AF00-3D9972801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875939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8FE4A3-CA0D-893C-0E34-99FCFD6CCA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7699705-CD1D-738B-69AE-879551ED94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F4184E-D7AA-4D16-A981-E60E58289739}" type="datetimeFigureOut">
              <a:rPr lang="en-US" smtClean="0"/>
              <a:t>5/1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59F9F0-C193-1966-8833-5B5C23C0DA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9A161E-6D07-FA5E-9382-B025A5E9CC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6FD462-EAA7-41FD-AF00-3D9972801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350832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B2F6E7C-D1F1-76DE-F34C-B214BC37AE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F4184E-D7AA-4D16-A981-E60E58289739}" type="datetimeFigureOut">
              <a:rPr lang="en-US" smtClean="0"/>
              <a:t>5/16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F18668C-8069-E6BA-52FE-5E4BA6AB9B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DA2EA7-D9D6-CDBC-2245-9832FD2EB5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6FD462-EAA7-41FD-AF00-3D9972801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65690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8F3261-5E30-431E-600C-3D254FB229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D08776-85E6-C214-4F62-B068DC62A1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6B2AAA-89F7-C2E5-D10D-018714FA55C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05D048-D23F-C14E-1DBB-79496D24CD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F4184E-D7AA-4D16-A981-E60E58289739}" type="datetimeFigureOut">
              <a:rPr lang="en-US" smtClean="0"/>
              <a:t>5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F20A727-B8FB-CB2E-DD15-6202F63A84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AE92A0-8B20-8DB1-6D1A-1FC656C5C3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6FD462-EAA7-41FD-AF00-3D9972801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77217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colorful background with a white background&#10;&#10;Description automatically generated">
            <a:extLst>
              <a:ext uri="{FF2B5EF4-FFF2-40B4-BE49-F238E27FC236}">
                <a16:creationId xmlns:a16="http://schemas.microsoft.com/office/drawing/2014/main" id="{6E2AE908-B32C-618E-A8AF-A55B76056D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38623" y="300038"/>
            <a:ext cx="7519987" cy="4738687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chemeClr val="bg1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EE9C070-2AB6-012A-2332-D7EE9753D99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04807319"/>
      </p:ext>
    </p:extLst>
  </p:cSld>
  <p:clrMapOvr>
    <a:masterClrMapping/>
  </p:clrMapOvr>
  <p:hf hd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C12B48-B157-6BE2-9009-659FF643DE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65CD186-CEED-882B-623C-64C3073A70B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E1CF5C7-20DD-85D7-457F-FB8FCCCBB2C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6863C57-5F10-AE85-CBEB-013FFB60E5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F4184E-D7AA-4D16-A981-E60E58289739}" type="datetimeFigureOut">
              <a:rPr lang="en-US" smtClean="0"/>
              <a:t>5/1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79BB62-9AFC-DD4C-55AD-2F04747981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992BA72-8959-2089-9B3F-A41328E30F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6FD462-EAA7-41FD-AF00-3D9972801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641671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912D26-6B10-14DA-B42C-DEB3F8F32A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422633E-8C91-534B-C660-E993120CF33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35FABF-7089-2D11-9E38-E73BA2294E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F4184E-D7AA-4D16-A981-E60E58289739}" type="datetimeFigureOut">
              <a:rPr lang="en-US" smtClean="0"/>
              <a:t>5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883C5F-7155-396D-0985-0FC33A71C9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CE306B-0F25-F8EF-D2CF-6D11CAEBD8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6FD462-EAA7-41FD-AF00-3D9972801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63963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9171332-2238-03C1-A20C-C1CA9C53421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1EF69CC-25FB-EC73-5215-AB137983917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B319B4-CA7E-211A-849E-7FBEBE3823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F4184E-D7AA-4D16-A981-E60E58289739}" type="datetimeFigureOut">
              <a:rPr lang="en-US" smtClean="0"/>
              <a:t>5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4C582B-D04E-DF0D-4A26-9297496598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005DC5-CC94-DB4C-D3BC-2186EDB8C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6FD462-EAA7-41FD-AF00-3D9972801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971977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FF6A30E8-B7D4-ED0A-B735-3EFA819596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47443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(Full Colour)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Picture Placeholder 1035">
            <a:extLst>
              <a:ext uri="{FF2B5EF4-FFF2-40B4-BE49-F238E27FC236}">
                <a16:creationId xmlns:a16="http://schemas.microsoft.com/office/drawing/2014/main" id="{7AA4D6D0-4766-1D05-8A41-65097B5A11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1563350" cy="6858000"/>
          </a:xfrm>
          <a:custGeom>
            <a:avLst/>
            <a:gdLst>
              <a:gd name="connsiteX0" fmla="*/ 0 w 2751427"/>
              <a:gd name="connsiteY0" fmla="*/ 0 h 1638300"/>
              <a:gd name="connsiteX1" fmla="*/ 582307 w 2751427"/>
              <a:gd name="connsiteY1" fmla="*/ 0 h 1638300"/>
              <a:gd name="connsiteX2" fmla="*/ 1160833 w 2751427"/>
              <a:gd name="connsiteY2" fmla="*/ 0 h 1638300"/>
              <a:gd name="connsiteX3" fmla="*/ 1743141 w 2751427"/>
              <a:gd name="connsiteY3" fmla="*/ 0 h 1638300"/>
              <a:gd name="connsiteX4" fmla="*/ 2321667 w 2751427"/>
              <a:gd name="connsiteY4" fmla="*/ 0 h 1638300"/>
              <a:gd name="connsiteX5" fmla="*/ 2495602 w 2751427"/>
              <a:gd name="connsiteY5" fmla="*/ 0 h 1638300"/>
              <a:gd name="connsiteX6" fmla="*/ 2355697 w 2751427"/>
              <a:gd name="connsiteY6" fmla="*/ 333728 h 1638300"/>
              <a:gd name="connsiteX7" fmla="*/ 2355697 w 2751427"/>
              <a:gd name="connsiteY7" fmla="*/ 656079 h 1638300"/>
              <a:gd name="connsiteX8" fmla="*/ 2495602 w 2751427"/>
              <a:gd name="connsiteY8" fmla="*/ 982222 h 1638300"/>
              <a:gd name="connsiteX9" fmla="*/ 2650632 w 2751427"/>
              <a:gd name="connsiteY9" fmla="*/ 1152878 h 1638300"/>
              <a:gd name="connsiteX10" fmla="*/ 2745163 w 2751427"/>
              <a:gd name="connsiteY10" fmla="*/ 1312157 h 1638300"/>
              <a:gd name="connsiteX11" fmla="*/ 2748944 w 2751427"/>
              <a:gd name="connsiteY11" fmla="*/ 1422136 h 1638300"/>
              <a:gd name="connsiteX12" fmla="*/ 2571227 w 2751427"/>
              <a:gd name="connsiteY12" fmla="*/ 1638300 h 1638300"/>
              <a:gd name="connsiteX13" fmla="*/ 2321667 w 2751427"/>
              <a:gd name="connsiteY13" fmla="*/ 1638300 h 1638300"/>
              <a:gd name="connsiteX14" fmla="*/ 1743141 w 2751427"/>
              <a:gd name="connsiteY14" fmla="*/ 1638300 h 1638300"/>
              <a:gd name="connsiteX15" fmla="*/ 1160833 w 2751427"/>
              <a:gd name="connsiteY15" fmla="*/ 1638300 h 1638300"/>
              <a:gd name="connsiteX16" fmla="*/ 582307 w 2751427"/>
              <a:gd name="connsiteY16" fmla="*/ 1638300 h 1638300"/>
              <a:gd name="connsiteX17" fmla="*/ 0 w 2751427"/>
              <a:gd name="connsiteY17" fmla="*/ 1638300 h 1638300"/>
              <a:gd name="connsiteX18" fmla="*/ 0 w 2751427"/>
              <a:gd name="connsiteY18" fmla="*/ 1312157 h 1638300"/>
              <a:gd name="connsiteX19" fmla="*/ 0 w 2751427"/>
              <a:gd name="connsiteY19" fmla="*/ 982222 h 1638300"/>
              <a:gd name="connsiteX20" fmla="*/ 0 w 2751427"/>
              <a:gd name="connsiteY20" fmla="*/ 656079 h 1638300"/>
              <a:gd name="connsiteX21" fmla="*/ 0 w 2751427"/>
              <a:gd name="connsiteY21" fmla="*/ 326143 h 1638300"/>
              <a:gd name="connsiteX22" fmla="*/ 0 w 2751427"/>
              <a:gd name="connsiteY22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751427" h="1638300">
                <a:moveTo>
                  <a:pt x="0" y="0"/>
                </a:moveTo>
                <a:cubicBezTo>
                  <a:pt x="0" y="0"/>
                  <a:pt x="0" y="0"/>
                  <a:pt x="582307" y="0"/>
                </a:cubicBezTo>
                <a:cubicBezTo>
                  <a:pt x="582307" y="0"/>
                  <a:pt x="582307" y="0"/>
                  <a:pt x="1160833" y="0"/>
                </a:cubicBezTo>
                <a:cubicBezTo>
                  <a:pt x="1160833" y="0"/>
                  <a:pt x="1160833" y="0"/>
                  <a:pt x="1743141" y="0"/>
                </a:cubicBezTo>
                <a:cubicBezTo>
                  <a:pt x="1743141" y="0"/>
                  <a:pt x="1743141" y="0"/>
                  <a:pt x="2321667" y="0"/>
                </a:cubicBezTo>
                <a:cubicBezTo>
                  <a:pt x="2321667" y="0"/>
                  <a:pt x="2321667" y="0"/>
                  <a:pt x="2495602" y="0"/>
                </a:cubicBezTo>
                <a:cubicBezTo>
                  <a:pt x="2427541" y="98602"/>
                  <a:pt x="2378385" y="216165"/>
                  <a:pt x="2355697" y="333728"/>
                </a:cubicBezTo>
                <a:cubicBezTo>
                  <a:pt x="2336791" y="439914"/>
                  <a:pt x="2336791" y="553685"/>
                  <a:pt x="2355697" y="656079"/>
                </a:cubicBezTo>
                <a:cubicBezTo>
                  <a:pt x="2378385" y="773642"/>
                  <a:pt x="2427541" y="883620"/>
                  <a:pt x="2495602" y="982222"/>
                </a:cubicBezTo>
                <a:cubicBezTo>
                  <a:pt x="2537196" y="1046692"/>
                  <a:pt x="2590133" y="1103577"/>
                  <a:pt x="2650632" y="1152878"/>
                </a:cubicBezTo>
                <a:cubicBezTo>
                  <a:pt x="2699788" y="1194594"/>
                  <a:pt x="2730038" y="1247687"/>
                  <a:pt x="2745163" y="1312157"/>
                </a:cubicBezTo>
                <a:cubicBezTo>
                  <a:pt x="2752725" y="1346288"/>
                  <a:pt x="2752725" y="1384212"/>
                  <a:pt x="2748944" y="1422136"/>
                </a:cubicBezTo>
                <a:cubicBezTo>
                  <a:pt x="2730038" y="1520737"/>
                  <a:pt x="2665757" y="1600377"/>
                  <a:pt x="2571227" y="1638300"/>
                </a:cubicBezTo>
                <a:cubicBezTo>
                  <a:pt x="2571227" y="1638300"/>
                  <a:pt x="2571227" y="1638300"/>
                  <a:pt x="2321667" y="1638300"/>
                </a:cubicBezTo>
                <a:cubicBezTo>
                  <a:pt x="2321667" y="1638300"/>
                  <a:pt x="2321667" y="1638300"/>
                  <a:pt x="1743141" y="1638300"/>
                </a:cubicBezTo>
                <a:cubicBezTo>
                  <a:pt x="1743141" y="1638300"/>
                  <a:pt x="1743141" y="1638300"/>
                  <a:pt x="1160833" y="1638300"/>
                </a:cubicBezTo>
                <a:cubicBezTo>
                  <a:pt x="1160833" y="1638300"/>
                  <a:pt x="1160833" y="1638300"/>
                  <a:pt x="582307" y="1638300"/>
                </a:cubicBezTo>
                <a:cubicBezTo>
                  <a:pt x="582307" y="1638300"/>
                  <a:pt x="582307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8" name="Picture 7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FF6A30E8-B7D4-ED0A-B735-3EFA819596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menu &gt; </a:t>
            </a:r>
            <a:r>
              <a:rPr lang="en-US" noProof="0"/>
              <a:t>Header</a:t>
            </a:r>
            <a:r>
              <a:rPr lang="en-US"/>
              <a:t>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82450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(Full Colour) Dark Image">
    <p:bg>
      <p:bgPr>
        <a:solidFill>
          <a:srgbClr val="A7A8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051E80E-90E2-38D4-1EC7-9B268E7FFE5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1563350" cy="6858000"/>
          </a:xfrm>
          <a:custGeom>
            <a:avLst/>
            <a:gdLst>
              <a:gd name="connsiteX0" fmla="*/ 0 w 2751427"/>
              <a:gd name="connsiteY0" fmla="*/ 0 h 1638300"/>
              <a:gd name="connsiteX1" fmla="*/ 582307 w 2751427"/>
              <a:gd name="connsiteY1" fmla="*/ 0 h 1638300"/>
              <a:gd name="connsiteX2" fmla="*/ 1160833 w 2751427"/>
              <a:gd name="connsiteY2" fmla="*/ 0 h 1638300"/>
              <a:gd name="connsiteX3" fmla="*/ 1743141 w 2751427"/>
              <a:gd name="connsiteY3" fmla="*/ 0 h 1638300"/>
              <a:gd name="connsiteX4" fmla="*/ 2321667 w 2751427"/>
              <a:gd name="connsiteY4" fmla="*/ 0 h 1638300"/>
              <a:gd name="connsiteX5" fmla="*/ 2495602 w 2751427"/>
              <a:gd name="connsiteY5" fmla="*/ 0 h 1638300"/>
              <a:gd name="connsiteX6" fmla="*/ 2355697 w 2751427"/>
              <a:gd name="connsiteY6" fmla="*/ 333728 h 1638300"/>
              <a:gd name="connsiteX7" fmla="*/ 2355697 w 2751427"/>
              <a:gd name="connsiteY7" fmla="*/ 656079 h 1638300"/>
              <a:gd name="connsiteX8" fmla="*/ 2495602 w 2751427"/>
              <a:gd name="connsiteY8" fmla="*/ 982222 h 1638300"/>
              <a:gd name="connsiteX9" fmla="*/ 2650632 w 2751427"/>
              <a:gd name="connsiteY9" fmla="*/ 1152878 h 1638300"/>
              <a:gd name="connsiteX10" fmla="*/ 2745163 w 2751427"/>
              <a:gd name="connsiteY10" fmla="*/ 1312157 h 1638300"/>
              <a:gd name="connsiteX11" fmla="*/ 2748944 w 2751427"/>
              <a:gd name="connsiteY11" fmla="*/ 1422136 h 1638300"/>
              <a:gd name="connsiteX12" fmla="*/ 2571227 w 2751427"/>
              <a:gd name="connsiteY12" fmla="*/ 1638300 h 1638300"/>
              <a:gd name="connsiteX13" fmla="*/ 2321667 w 2751427"/>
              <a:gd name="connsiteY13" fmla="*/ 1638300 h 1638300"/>
              <a:gd name="connsiteX14" fmla="*/ 1743141 w 2751427"/>
              <a:gd name="connsiteY14" fmla="*/ 1638300 h 1638300"/>
              <a:gd name="connsiteX15" fmla="*/ 1160833 w 2751427"/>
              <a:gd name="connsiteY15" fmla="*/ 1638300 h 1638300"/>
              <a:gd name="connsiteX16" fmla="*/ 582307 w 2751427"/>
              <a:gd name="connsiteY16" fmla="*/ 1638300 h 1638300"/>
              <a:gd name="connsiteX17" fmla="*/ 0 w 2751427"/>
              <a:gd name="connsiteY17" fmla="*/ 1638300 h 1638300"/>
              <a:gd name="connsiteX18" fmla="*/ 0 w 2751427"/>
              <a:gd name="connsiteY18" fmla="*/ 1312157 h 1638300"/>
              <a:gd name="connsiteX19" fmla="*/ 0 w 2751427"/>
              <a:gd name="connsiteY19" fmla="*/ 982222 h 1638300"/>
              <a:gd name="connsiteX20" fmla="*/ 0 w 2751427"/>
              <a:gd name="connsiteY20" fmla="*/ 656079 h 1638300"/>
              <a:gd name="connsiteX21" fmla="*/ 0 w 2751427"/>
              <a:gd name="connsiteY21" fmla="*/ 326143 h 1638300"/>
              <a:gd name="connsiteX22" fmla="*/ 0 w 2751427"/>
              <a:gd name="connsiteY22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751427" h="1638300">
                <a:moveTo>
                  <a:pt x="0" y="0"/>
                </a:moveTo>
                <a:cubicBezTo>
                  <a:pt x="0" y="0"/>
                  <a:pt x="0" y="0"/>
                  <a:pt x="582307" y="0"/>
                </a:cubicBezTo>
                <a:cubicBezTo>
                  <a:pt x="582307" y="0"/>
                  <a:pt x="582307" y="0"/>
                  <a:pt x="1160833" y="0"/>
                </a:cubicBezTo>
                <a:cubicBezTo>
                  <a:pt x="1160833" y="0"/>
                  <a:pt x="1160833" y="0"/>
                  <a:pt x="1743141" y="0"/>
                </a:cubicBezTo>
                <a:cubicBezTo>
                  <a:pt x="1743141" y="0"/>
                  <a:pt x="1743141" y="0"/>
                  <a:pt x="2321667" y="0"/>
                </a:cubicBezTo>
                <a:cubicBezTo>
                  <a:pt x="2321667" y="0"/>
                  <a:pt x="2321667" y="0"/>
                  <a:pt x="2495602" y="0"/>
                </a:cubicBezTo>
                <a:cubicBezTo>
                  <a:pt x="2427541" y="98602"/>
                  <a:pt x="2378385" y="216165"/>
                  <a:pt x="2355697" y="333728"/>
                </a:cubicBezTo>
                <a:cubicBezTo>
                  <a:pt x="2336791" y="439914"/>
                  <a:pt x="2336791" y="553685"/>
                  <a:pt x="2355697" y="656079"/>
                </a:cubicBezTo>
                <a:cubicBezTo>
                  <a:pt x="2378385" y="773642"/>
                  <a:pt x="2427541" y="883620"/>
                  <a:pt x="2495602" y="982222"/>
                </a:cubicBezTo>
                <a:cubicBezTo>
                  <a:pt x="2537196" y="1046692"/>
                  <a:pt x="2590133" y="1103577"/>
                  <a:pt x="2650632" y="1152878"/>
                </a:cubicBezTo>
                <a:cubicBezTo>
                  <a:pt x="2699788" y="1194594"/>
                  <a:pt x="2730038" y="1247687"/>
                  <a:pt x="2745163" y="1312157"/>
                </a:cubicBezTo>
                <a:cubicBezTo>
                  <a:pt x="2752725" y="1346288"/>
                  <a:pt x="2752725" y="1384212"/>
                  <a:pt x="2748944" y="1422136"/>
                </a:cubicBezTo>
                <a:cubicBezTo>
                  <a:pt x="2730038" y="1520737"/>
                  <a:pt x="2665757" y="1600377"/>
                  <a:pt x="2571227" y="1638300"/>
                </a:cubicBezTo>
                <a:cubicBezTo>
                  <a:pt x="2571227" y="1638300"/>
                  <a:pt x="2571227" y="1638300"/>
                  <a:pt x="2321667" y="1638300"/>
                </a:cubicBezTo>
                <a:cubicBezTo>
                  <a:pt x="2321667" y="1638300"/>
                  <a:pt x="2321667" y="1638300"/>
                  <a:pt x="1743141" y="1638300"/>
                </a:cubicBezTo>
                <a:cubicBezTo>
                  <a:pt x="1743141" y="1638300"/>
                  <a:pt x="1743141" y="1638300"/>
                  <a:pt x="1160833" y="1638300"/>
                </a:cubicBezTo>
                <a:cubicBezTo>
                  <a:pt x="1160833" y="1638300"/>
                  <a:pt x="1160833" y="1638300"/>
                  <a:pt x="582307" y="1638300"/>
                </a:cubicBezTo>
                <a:cubicBezTo>
                  <a:pt x="582307" y="1638300"/>
                  <a:pt x="582307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8" name="Picture 7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FF6A30E8-B7D4-ED0A-B735-3EFA819596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8BF5FAE-D19B-68EB-DD60-A7A23884BA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1200" y="5644800"/>
            <a:ext cx="5004000" cy="9342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70937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ue and pink circle with black background&#10;&#10;Description automatically generated">
            <a:extLst>
              <a:ext uri="{FF2B5EF4-FFF2-40B4-BE49-F238E27FC236}">
                <a16:creationId xmlns:a16="http://schemas.microsoft.com/office/drawing/2014/main" id="{5C3534BA-B612-8BE4-57E8-98FF2A63A7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4001" y="0"/>
            <a:ext cx="43179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93105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(Full Colour)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5BEA9E99-0C18-0E13-D81E-E2F2149CBA47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2901950"/>
              <a:gd name="connsiteY0" fmla="*/ 0 h 1638300"/>
              <a:gd name="connsiteX1" fmla="*/ 581902 w 2901950"/>
              <a:gd name="connsiteY1" fmla="*/ 0 h 1638300"/>
              <a:gd name="connsiteX2" fmla="*/ 1160024 w 2901950"/>
              <a:gd name="connsiteY2" fmla="*/ 0 h 1638300"/>
              <a:gd name="connsiteX3" fmla="*/ 1741926 w 2901950"/>
              <a:gd name="connsiteY3" fmla="*/ 0 h 1638300"/>
              <a:gd name="connsiteX4" fmla="*/ 2320049 w 2901950"/>
              <a:gd name="connsiteY4" fmla="*/ 0 h 1638300"/>
              <a:gd name="connsiteX5" fmla="*/ 2901950 w 2901950"/>
              <a:gd name="connsiteY5" fmla="*/ 0 h 1638300"/>
              <a:gd name="connsiteX6" fmla="*/ 2901950 w 2901950"/>
              <a:gd name="connsiteY6" fmla="*/ 326143 h 1638300"/>
              <a:gd name="connsiteX7" fmla="*/ 2901950 w 2901950"/>
              <a:gd name="connsiteY7" fmla="*/ 356482 h 1638300"/>
              <a:gd name="connsiteX8" fmla="*/ 2467413 w 2901950"/>
              <a:gd name="connsiteY8" fmla="*/ 656079 h 1638300"/>
              <a:gd name="connsiteX9" fmla="*/ 2463635 w 2901950"/>
              <a:gd name="connsiteY9" fmla="*/ 663663 h 1638300"/>
              <a:gd name="connsiteX10" fmla="*/ 2350277 w 2901950"/>
              <a:gd name="connsiteY10" fmla="*/ 982222 h 1638300"/>
              <a:gd name="connsiteX11" fmla="*/ 2350277 w 2901950"/>
              <a:gd name="connsiteY11" fmla="*/ 1312157 h 1638300"/>
              <a:gd name="connsiteX12" fmla="*/ 2350277 w 2901950"/>
              <a:gd name="connsiteY12" fmla="*/ 1315949 h 1638300"/>
              <a:gd name="connsiteX13" fmla="*/ 2320049 w 2901950"/>
              <a:gd name="connsiteY13" fmla="*/ 1331119 h 1638300"/>
              <a:gd name="connsiteX14" fmla="*/ 2029098 w 2901950"/>
              <a:gd name="connsiteY14" fmla="*/ 1501775 h 1638300"/>
              <a:gd name="connsiteX15" fmla="*/ 1915741 w 2901950"/>
              <a:gd name="connsiteY15" fmla="*/ 1615546 h 1638300"/>
              <a:gd name="connsiteX16" fmla="*/ 1904405 w 2901950"/>
              <a:gd name="connsiteY16" fmla="*/ 1638300 h 1638300"/>
              <a:gd name="connsiteX17" fmla="*/ 1741926 w 2901950"/>
              <a:gd name="connsiteY17" fmla="*/ 1638300 h 1638300"/>
              <a:gd name="connsiteX18" fmla="*/ 1160024 w 2901950"/>
              <a:gd name="connsiteY18" fmla="*/ 1638300 h 1638300"/>
              <a:gd name="connsiteX19" fmla="*/ 581902 w 2901950"/>
              <a:gd name="connsiteY19" fmla="*/ 1638300 h 1638300"/>
              <a:gd name="connsiteX20" fmla="*/ 0 w 2901950"/>
              <a:gd name="connsiteY20" fmla="*/ 1638300 h 1638300"/>
              <a:gd name="connsiteX21" fmla="*/ 0 w 2901950"/>
              <a:gd name="connsiteY21" fmla="*/ 1312157 h 1638300"/>
              <a:gd name="connsiteX22" fmla="*/ 0 w 2901950"/>
              <a:gd name="connsiteY22" fmla="*/ 982222 h 1638300"/>
              <a:gd name="connsiteX23" fmla="*/ 0 w 2901950"/>
              <a:gd name="connsiteY23" fmla="*/ 656079 h 1638300"/>
              <a:gd name="connsiteX24" fmla="*/ 0 w 2901950"/>
              <a:gd name="connsiteY24" fmla="*/ 326143 h 1638300"/>
              <a:gd name="connsiteX25" fmla="*/ 0 w 2901950"/>
              <a:gd name="connsiteY25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901950" h="1638300">
                <a:moveTo>
                  <a:pt x="0" y="0"/>
                </a:moveTo>
                <a:cubicBezTo>
                  <a:pt x="0" y="0"/>
                  <a:pt x="0" y="0"/>
                  <a:pt x="581902" y="0"/>
                </a:cubicBezTo>
                <a:cubicBezTo>
                  <a:pt x="581902" y="0"/>
                  <a:pt x="581902" y="0"/>
                  <a:pt x="1160024" y="0"/>
                </a:cubicBezTo>
                <a:cubicBezTo>
                  <a:pt x="1160024" y="0"/>
                  <a:pt x="1160024" y="0"/>
                  <a:pt x="1741926" y="0"/>
                </a:cubicBezTo>
                <a:cubicBezTo>
                  <a:pt x="1741926" y="0"/>
                  <a:pt x="1741926" y="0"/>
                  <a:pt x="2320049" y="0"/>
                </a:cubicBezTo>
                <a:lnTo>
                  <a:pt x="2901950" y="0"/>
                </a:lnTo>
                <a:cubicBezTo>
                  <a:pt x="2901950" y="0"/>
                  <a:pt x="2901950" y="0"/>
                  <a:pt x="2901950" y="326143"/>
                </a:cubicBezTo>
                <a:cubicBezTo>
                  <a:pt x="2901950" y="326143"/>
                  <a:pt x="2901950" y="326143"/>
                  <a:pt x="2901950" y="356482"/>
                </a:cubicBezTo>
                <a:cubicBezTo>
                  <a:pt x="2720578" y="386821"/>
                  <a:pt x="2561878" y="496799"/>
                  <a:pt x="2467413" y="656079"/>
                </a:cubicBezTo>
                <a:cubicBezTo>
                  <a:pt x="2467413" y="659871"/>
                  <a:pt x="2463635" y="659871"/>
                  <a:pt x="2463635" y="663663"/>
                </a:cubicBezTo>
                <a:cubicBezTo>
                  <a:pt x="2406956" y="762265"/>
                  <a:pt x="2365392" y="872243"/>
                  <a:pt x="2350277" y="982222"/>
                </a:cubicBezTo>
                <a:cubicBezTo>
                  <a:pt x="2331384" y="1092200"/>
                  <a:pt x="2331384" y="1202179"/>
                  <a:pt x="2350277" y="1312157"/>
                </a:cubicBezTo>
                <a:cubicBezTo>
                  <a:pt x="2350277" y="1312157"/>
                  <a:pt x="2350277" y="1312157"/>
                  <a:pt x="2350277" y="1315949"/>
                </a:cubicBezTo>
                <a:cubicBezTo>
                  <a:pt x="2350277" y="1315949"/>
                  <a:pt x="2350277" y="1315949"/>
                  <a:pt x="2320049" y="1331119"/>
                </a:cubicBezTo>
                <a:cubicBezTo>
                  <a:pt x="2320049" y="1331119"/>
                  <a:pt x="2320049" y="1331119"/>
                  <a:pt x="2029098" y="1501775"/>
                </a:cubicBezTo>
                <a:cubicBezTo>
                  <a:pt x="1983755" y="1528322"/>
                  <a:pt x="1942191" y="1566245"/>
                  <a:pt x="1915741" y="1615546"/>
                </a:cubicBezTo>
                <a:cubicBezTo>
                  <a:pt x="1911962" y="1623131"/>
                  <a:pt x="1908183" y="1630715"/>
                  <a:pt x="1904405" y="1638300"/>
                </a:cubicBezTo>
                <a:cubicBezTo>
                  <a:pt x="1904405" y="1638300"/>
                  <a:pt x="1904405" y="1638300"/>
                  <a:pt x="1741926" y="1638300"/>
                </a:cubicBezTo>
                <a:cubicBezTo>
                  <a:pt x="1741926" y="1638300"/>
                  <a:pt x="1741926" y="1638300"/>
                  <a:pt x="1160024" y="1638300"/>
                </a:cubicBezTo>
                <a:cubicBezTo>
                  <a:pt x="1160024" y="1638300"/>
                  <a:pt x="1160024" y="1638300"/>
                  <a:pt x="581902" y="1638300"/>
                </a:cubicBezTo>
                <a:cubicBezTo>
                  <a:pt x="581902" y="1638300"/>
                  <a:pt x="581902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  <a:noFill/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7" name="Picture 6" descr="A blue and pink circle with black background&#10;&#10;Description automatically generated">
            <a:extLst>
              <a:ext uri="{FF2B5EF4-FFF2-40B4-BE49-F238E27FC236}">
                <a16:creationId xmlns:a16="http://schemas.microsoft.com/office/drawing/2014/main" id="{EE80A020-17A0-9A32-B7DF-F8F78FB38B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4001" y="0"/>
            <a:ext cx="43179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34778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(Full Colour) Dark Image">
    <p:bg>
      <p:bgPr>
        <a:solidFill>
          <a:srgbClr val="A7A8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7EFE5F9-8B04-8D8D-09D3-53C33529D293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2901950"/>
              <a:gd name="connsiteY0" fmla="*/ 0 h 1638300"/>
              <a:gd name="connsiteX1" fmla="*/ 581902 w 2901950"/>
              <a:gd name="connsiteY1" fmla="*/ 0 h 1638300"/>
              <a:gd name="connsiteX2" fmla="*/ 1160024 w 2901950"/>
              <a:gd name="connsiteY2" fmla="*/ 0 h 1638300"/>
              <a:gd name="connsiteX3" fmla="*/ 1741926 w 2901950"/>
              <a:gd name="connsiteY3" fmla="*/ 0 h 1638300"/>
              <a:gd name="connsiteX4" fmla="*/ 2320049 w 2901950"/>
              <a:gd name="connsiteY4" fmla="*/ 0 h 1638300"/>
              <a:gd name="connsiteX5" fmla="*/ 2901950 w 2901950"/>
              <a:gd name="connsiteY5" fmla="*/ 0 h 1638300"/>
              <a:gd name="connsiteX6" fmla="*/ 2901950 w 2901950"/>
              <a:gd name="connsiteY6" fmla="*/ 326143 h 1638300"/>
              <a:gd name="connsiteX7" fmla="*/ 2901950 w 2901950"/>
              <a:gd name="connsiteY7" fmla="*/ 356482 h 1638300"/>
              <a:gd name="connsiteX8" fmla="*/ 2467413 w 2901950"/>
              <a:gd name="connsiteY8" fmla="*/ 656079 h 1638300"/>
              <a:gd name="connsiteX9" fmla="*/ 2463635 w 2901950"/>
              <a:gd name="connsiteY9" fmla="*/ 663663 h 1638300"/>
              <a:gd name="connsiteX10" fmla="*/ 2350277 w 2901950"/>
              <a:gd name="connsiteY10" fmla="*/ 982222 h 1638300"/>
              <a:gd name="connsiteX11" fmla="*/ 2350277 w 2901950"/>
              <a:gd name="connsiteY11" fmla="*/ 1312157 h 1638300"/>
              <a:gd name="connsiteX12" fmla="*/ 2350277 w 2901950"/>
              <a:gd name="connsiteY12" fmla="*/ 1315949 h 1638300"/>
              <a:gd name="connsiteX13" fmla="*/ 2320049 w 2901950"/>
              <a:gd name="connsiteY13" fmla="*/ 1331119 h 1638300"/>
              <a:gd name="connsiteX14" fmla="*/ 2029098 w 2901950"/>
              <a:gd name="connsiteY14" fmla="*/ 1501775 h 1638300"/>
              <a:gd name="connsiteX15" fmla="*/ 1915741 w 2901950"/>
              <a:gd name="connsiteY15" fmla="*/ 1615546 h 1638300"/>
              <a:gd name="connsiteX16" fmla="*/ 1904405 w 2901950"/>
              <a:gd name="connsiteY16" fmla="*/ 1638300 h 1638300"/>
              <a:gd name="connsiteX17" fmla="*/ 1741926 w 2901950"/>
              <a:gd name="connsiteY17" fmla="*/ 1638300 h 1638300"/>
              <a:gd name="connsiteX18" fmla="*/ 1160024 w 2901950"/>
              <a:gd name="connsiteY18" fmla="*/ 1638300 h 1638300"/>
              <a:gd name="connsiteX19" fmla="*/ 581902 w 2901950"/>
              <a:gd name="connsiteY19" fmla="*/ 1638300 h 1638300"/>
              <a:gd name="connsiteX20" fmla="*/ 0 w 2901950"/>
              <a:gd name="connsiteY20" fmla="*/ 1638300 h 1638300"/>
              <a:gd name="connsiteX21" fmla="*/ 0 w 2901950"/>
              <a:gd name="connsiteY21" fmla="*/ 1312157 h 1638300"/>
              <a:gd name="connsiteX22" fmla="*/ 0 w 2901950"/>
              <a:gd name="connsiteY22" fmla="*/ 982222 h 1638300"/>
              <a:gd name="connsiteX23" fmla="*/ 0 w 2901950"/>
              <a:gd name="connsiteY23" fmla="*/ 656079 h 1638300"/>
              <a:gd name="connsiteX24" fmla="*/ 0 w 2901950"/>
              <a:gd name="connsiteY24" fmla="*/ 326143 h 1638300"/>
              <a:gd name="connsiteX25" fmla="*/ 0 w 2901950"/>
              <a:gd name="connsiteY25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901950" h="1638300">
                <a:moveTo>
                  <a:pt x="0" y="0"/>
                </a:moveTo>
                <a:cubicBezTo>
                  <a:pt x="0" y="0"/>
                  <a:pt x="0" y="0"/>
                  <a:pt x="581902" y="0"/>
                </a:cubicBezTo>
                <a:cubicBezTo>
                  <a:pt x="581902" y="0"/>
                  <a:pt x="581902" y="0"/>
                  <a:pt x="1160024" y="0"/>
                </a:cubicBezTo>
                <a:cubicBezTo>
                  <a:pt x="1160024" y="0"/>
                  <a:pt x="1160024" y="0"/>
                  <a:pt x="1741926" y="0"/>
                </a:cubicBezTo>
                <a:cubicBezTo>
                  <a:pt x="1741926" y="0"/>
                  <a:pt x="1741926" y="0"/>
                  <a:pt x="2320049" y="0"/>
                </a:cubicBezTo>
                <a:lnTo>
                  <a:pt x="2901950" y="0"/>
                </a:lnTo>
                <a:cubicBezTo>
                  <a:pt x="2901950" y="0"/>
                  <a:pt x="2901950" y="0"/>
                  <a:pt x="2901950" y="326143"/>
                </a:cubicBezTo>
                <a:cubicBezTo>
                  <a:pt x="2901950" y="326143"/>
                  <a:pt x="2901950" y="326143"/>
                  <a:pt x="2901950" y="356482"/>
                </a:cubicBezTo>
                <a:cubicBezTo>
                  <a:pt x="2720578" y="386821"/>
                  <a:pt x="2561878" y="496799"/>
                  <a:pt x="2467413" y="656079"/>
                </a:cubicBezTo>
                <a:cubicBezTo>
                  <a:pt x="2467413" y="659871"/>
                  <a:pt x="2463635" y="659871"/>
                  <a:pt x="2463635" y="663663"/>
                </a:cubicBezTo>
                <a:cubicBezTo>
                  <a:pt x="2406956" y="762265"/>
                  <a:pt x="2365392" y="872243"/>
                  <a:pt x="2350277" y="982222"/>
                </a:cubicBezTo>
                <a:cubicBezTo>
                  <a:pt x="2331384" y="1092200"/>
                  <a:pt x="2331384" y="1202179"/>
                  <a:pt x="2350277" y="1312157"/>
                </a:cubicBezTo>
                <a:cubicBezTo>
                  <a:pt x="2350277" y="1312157"/>
                  <a:pt x="2350277" y="1312157"/>
                  <a:pt x="2350277" y="1315949"/>
                </a:cubicBezTo>
                <a:cubicBezTo>
                  <a:pt x="2350277" y="1315949"/>
                  <a:pt x="2350277" y="1315949"/>
                  <a:pt x="2320049" y="1331119"/>
                </a:cubicBezTo>
                <a:cubicBezTo>
                  <a:pt x="2320049" y="1331119"/>
                  <a:pt x="2320049" y="1331119"/>
                  <a:pt x="2029098" y="1501775"/>
                </a:cubicBezTo>
                <a:cubicBezTo>
                  <a:pt x="1983755" y="1528322"/>
                  <a:pt x="1942191" y="1566245"/>
                  <a:pt x="1915741" y="1615546"/>
                </a:cubicBezTo>
                <a:cubicBezTo>
                  <a:pt x="1911962" y="1623131"/>
                  <a:pt x="1908183" y="1630715"/>
                  <a:pt x="1904405" y="1638300"/>
                </a:cubicBezTo>
                <a:cubicBezTo>
                  <a:pt x="1904405" y="1638300"/>
                  <a:pt x="1904405" y="1638300"/>
                  <a:pt x="1741926" y="1638300"/>
                </a:cubicBezTo>
                <a:cubicBezTo>
                  <a:pt x="1741926" y="1638300"/>
                  <a:pt x="1741926" y="1638300"/>
                  <a:pt x="1160024" y="1638300"/>
                </a:cubicBezTo>
                <a:cubicBezTo>
                  <a:pt x="1160024" y="1638300"/>
                  <a:pt x="1160024" y="1638300"/>
                  <a:pt x="581902" y="1638300"/>
                </a:cubicBezTo>
                <a:cubicBezTo>
                  <a:pt x="581902" y="1638300"/>
                  <a:pt x="581902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  <a:noFill/>
        </p:spPr>
        <p:txBody>
          <a:bodyPr wrap="square" tIns="3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4" name="Picture 3" descr="A blue and pink circle with black background&#10;&#10;Description automatically generated">
            <a:extLst>
              <a:ext uri="{FF2B5EF4-FFF2-40B4-BE49-F238E27FC236}">
                <a16:creationId xmlns:a16="http://schemas.microsoft.com/office/drawing/2014/main" id="{31098AA9-5538-23A3-F13F-E112450ED1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4001" y="0"/>
            <a:ext cx="431799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8BF5FAE-D19B-68EB-DD60-A7A23884BA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1200" y="5644800"/>
            <a:ext cx="5004000" cy="9342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9425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background with a yellow circle&#10;&#10;Description automatically generated">
            <a:extLst>
              <a:ext uri="{FF2B5EF4-FFF2-40B4-BE49-F238E27FC236}">
                <a16:creationId xmlns:a16="http://schemas.microsoft.com/office/drawing/2014/main" id="{EC7C65FC-796A-79CD-E261-AD02409009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3901" y="0"/>
            <a:ext cx="25780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27600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olorful gradient on a white background&#10;&#10;Description automatically generated">
            <a:extLst>
              <a:ext uri="{FF2B5EF4-FFF2-40B4-BE49-F238E27FC236}">
                <a16:creationId xmlns:a16="http://schemas.microsoft.com/office/drawing/2014/main" id="{BE488759-E3E9-A6FC-71CC-4B41E86D47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086856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F3641-954F-D237-0298-DCF806C305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3625" y="300038"/>
            <a:ext cx="5614985" cy="5751512"/>
          </a:xfrm>
        </p:spPr>
        <p:txBody>
          <a:bodyPr/>
          <a:lstStyle>
            <a:lvl1pPr marL="142875" indent="-142875">
              <a:spcAft>
                <a:spcPts val="2400"/>
              </a:spcAft>
              <a:defRPr sz="4000" b="0" spc="-70" baseline="0">
                <a:solidFill>
                  <a:srgbClr val="002068"/>
                </a:solidFill>
              </a:defRPr>
            </a:lvl1pPr>
            <a:lvl2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2pPr>
            <a:lvl3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3pPr>
            <a:lvl4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4pPr>
            <a:lvl5pPr marL="166688" indent="-14288">
              <a:spcBef>
                <a:spcPts val="0"/>
              </a:spcBef>
              <a:buFontTx/>
              <a:buNone/>
              <a:defRPr sz="1800" b="1">
                <a:solidFill>
                  <a:srgbClr val="0460A9"/>
                </a:solidFill>
              </a:defRPr>
            </a:lvl5pPr>
          </a:lstStyle>
          <a:p>
            <a:pPr lvl="0"/>
            <a:r>
              <a:rPr lang="en-US"/>
              <a:t>“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0EB4079-A5FD-C3C8-29D8-4AFFAD91CCB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5814479" cy="5895975"/>
          </a:xfrm>
          <a:custGeom>
            <a:avLst/>
            <a:gdLst>
              <a:gd name="connsiteX0" fmla="*/ 2035735 w 3796509"/>
              <a:gd name="connsiteY0" fmla="*/ 0 h 3849721"/>
              <a:gd name="connsiteX1" fmla="*/ 3026232 w 3796509"/>
              <a:gd name="connsiteY1" fmla="*/ 0 h 3849721"/>
              <a:gd name="connsiteX2" fmla="*/ 3033499 w 3796509"/>
              <a:gd name="connsiteY2" fmla="*/ 9346 h 3849721"/>
              <a:gd name="connsiteX3" fmla="*/ 3036614 w 3796509"/>
              <a:gd name="connsiteY3" fmla="*/ 13500 h 3849721"/>
              <a:gd name="connsiteX4" fmla="*/ 3043882 w 3796509"/>
              <a:gd name="connsiteY4" fmla="*/ 23884 h 3849721"/>
              <a:gd name="connsiteX5" fmla="*/ 3048035 w 3796509"/>
              <a:gd name="connsiteY5" fmla="*/ 29076 h 3849721"/>
              <a:gd name="connsiteX6" fmla="*/ 3061532 w 3796509"/>
              <a:gd name="connsiteY6" fmla="*/ 49844 h 3849721"/>
              <a:gd name="connsiteX7" fmla="*/ 3063609 w 3796509"/>
              <a:gd name="connsiteY7" fmla="*/ 52960 h 3849721"/>
              <a:gd name="connsiteX8" fmla="*/ 3079183 w 3796509"/>
              <a:gd name="connsiteY8" fmla="*/ 77882 h 3849721"/>
              <a:gd name="connsiteX9" fmla="*/ 3711481 w 3796509"/>
              <a:gd name="connsiteY9" fmla="*/ 1173416 h 3849721"/>
              <a:gd name="connsiteX10" fmla="*/ 3767547 w 3796509"/>
              <a:gd name="connsiteY10" fmla="*/ 1678089 h 3849721"/>
              <a:gd name="connsiteX11" fmla="*/ 3478911 w 3796509"/>
              <a:gd name="connsiteY11" fmla="*/ 2038421 h 3849721"/>
              <a:gd name="connsiteX12" fmla="*/ 3164320 w 3796509"/>
              <a:gd name="connsiteY12" fmla="*/ 2555555 h 3849721"/>
              <a:gd name="connsiteX13" fmla="*/ 2995084 w 3796509"/>
              <a:gd name="connsiteY13" fmla="*/ 3217030 h 3849721"/>
              <a:gd name="connsiteX14" fmla="*/ 1266387 w 3796509"/>
              <a:gd name="connsiteY14" fmla="*/ 3680166 h 3849721"/>
              <a:gd name="connsiteX15" fmla="*/ 634089 w 3796509"/>
              <a:gd name="connsiteY15" fmla="*/ 2629283 h 3849721"/>
              <a:gd name="connsiteX16" fmla="*/ 633051 w 3796509"/>
              <a:gd name="connsiteY16" fmla="*/ 2586708 h 3849721"/>
              <a:gd name="connsiteX17" fmla="*/ 430591 w 3796509"/>
              <a:gd name="connsiteY17" fmla="*/ 2123572 h 3849721"/>
              <a:gd name="connsiteX18" fmla="*/ 348569 w 3796509"/>
              <a:gd name="connsiteY18" fmla="*/ 2058151 h 3849721"/>
              <a:gd name="connsiteX19" fmla="*/ 345454 w 3796509"/>
              <a:gd name="connsiteY19" fmla="*/ 2056075 h 3849721"/>
              <a:gd name="connsiteX20" fmla="*/ 334033 w 3796509"/>
              <a:gd name="connsiteY20" fmla="*/ 2048806 h 3849721"/>
              <a:gd name="connsiteX21" fmla="*/ 317421 w 3796509"/>
              <a:gd name="connsiteY21" fmla="*/ 2039460 h 3849721"/>
              <a:gd name="connsiteX22" fmla="*/ 84851 w 3796509"/>
              <a:gd name="connsiteY22" fmla="*/ 1173416 h 3849721"/>
              <a:gd name="connsiteX23" fmla="*/ 948681 w 3796509"/>
              <a:gd name="connsiteY23" fmla="*/ 941848 h 3849721"/>
              <a:gd name="connsiteX24" fmla="*/ 1265349 w 3796509"/>
              <a:gd name="connsiteY24" fmla="*/ 1026999 h 3849721"/>
              <a:gd name="connsiteX25" fmla="*/ 1897647 w 3796509"/>
              <a:gd name="connsiteY25" fmla="*/ 395639 h 3849721"/>
              <a:gd name="connsiteX26" fmla="*/ 2035735 w 3796509"/>
              <a:gd name="connsiteY26" fmla="*/ 0 h 3849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796509" h="3849721">
                <a:moveTo>
                  <a:pt x="2035735" y="0"/>
                </a:moveTo>
                <a:cubicBezTo>
                  <a:pt x="2035735" y="0"/>
                  <a:pt x="2035735" y="0"/>
                  <a:pt x="3026232" y="0"/>
                </a:cubicBezTo>
                <a:cubicBezTo>
                  <a:pt x="3028308" y="3115"/>
                  <a:pt x="3031423" y="6231"/>
                  <a:pt x="3033499" y="9346"/>
                </a:cubicBezTo>
                <a:cubicBezTo>
                  <a:pt x="3034538" y="11423"/>
                  <a:pt x="3035576" y="12461"/>
                  <a:pt x="3036614" y="13500"/>
                </a:cubicBezTo>
                <a:cubicBezTo>
                  <a:pt x="3039729" y="16615"/>
                  <a:pt x="3041805" y="20769"/>
                  <a:pt x="3043882" y="23884"/>
                </a:cubicBezTo>
                <a:cubicBezTo>
                  <a:pt x="3045958" y="25961"/>
                  <a:pt x="3046997" y="26999"/>
                  <a:pt x="3048035" y="29076"/>
                </a:cubicBezTo>
                <a:cubicBezTo>
                  <a:pt x="3052188" y="36345"/>
                  <a:pt x="3057379" y="42575"/>
                  <a:pt x="3061532" y="49844"/>
                </a:cubicBezTo>
                <a:cubicBezTo>
                  <a:pt x="3062571" y="50883"/>
                  <a:pt x="3063609" y="51921"/>
                  <a:pt x="3063609" y="52960"/>
                </a:cubicBezTo>
                <a:cubicBezTo>
                  <a:pt x="3068800" y="61267"/>
                  <a:pt x="3073991" y="69574"/>
                  <a:pt x="3079183" y="77882"/>
                </a:cubicBezTo>
                <a:cubicBezTo>
                  <a:pt x="3079183" y="77882"/>
                  <a:pt x="3079183" y="77882"/>
                  <a:pt x="3711481" y="1173416"/>
                </a:cubicBezTo>
                <a:cubicBezTo>
                  <a:pt x="3796618" y="1321911"/>
                  <a:pt x="3822574" y="1502596"/>
                  <a:pt x="3767547" y="1678089"/>
                </a:cubicBezTo>
                <a:cubicBezTo>
                  <a:pt x="3718748" y="1836968"/>
                  <a:pt x="3612846" y="1961578"/>
                  <a:pt x="3478911" y="2038421"/>
                </a:cubicBezTo>
                <a:cubicBezTo>
                  <a:pt x="3286834" y="2150571"/>
                  <a:pt x="3174702" y="2347871"/>
                  <a:pt x="3164320" y="2555555"/>
                </a:cubicBezTo>
                <a:cubicBezTo>
                  <a:pt x="3169511" y="2779854"/>
                  <a:pt x="3115522" y="3008307"/>
                  <a:pt x="2995084" y="3217030"/>
                </a:cubicBezTo>
                <a:cubicBezTo>
                  <a:pt x="2645191" y="3822429"/>
                  <a:pt x="1871691" y="4029075"/>
                  <a:pt x="1266387" y="3680166"/>
                </a:cubicBezTo>
                <a:cubicBezTo>
                  <a:pt x="874965" y="3453790"/>
                  <a:pt x="649663" y="3049844"/>
                  <a:pt x="634089" y="2629283"/>
                </a:cubicBezTo>
                <a:cubicBezTo>
                  <a:pt x="633051" y="2614745"/>
                  <a:pt x="633051" y="2601246"/>
                  <a:pt x="633051" y="2586708"/>
                </a:cubicBezTo>
                <a:cubicBezTo>
                  <a:pt x="633051" y="2403946"/>
                  <a:pt x="555182" y="2238837"/>
                  <a:pt x="430591" y="2123572"/>
                </a:cubicBezTo>
                <a:cubicBezTo>
                  <a:pt x="405673" y="2099688"/>
                  <a:pt x="377640" y="2077881"/>
                  <a:pt x="348569" y="2058151"/>
                </a:cubicBezTo>
                <a:cubicBezTo>
                  <a:pt x="347530" y="2058151"/>
                  <a:pt x="346492" y="2057113"/>
                  <a:pt x="345454" y="2056075"/>
                </a:cubicBezTo>
                <a:cubicBezTo>
                  <a:pt x="341301" y="2053998"/>
                  <a:pt x="337148" y="2050882"/>
                  <a:pt x="334033" y="2048806"/>
                </a:cubicBezTo>
                <a:cubicBezTo>
                  <a:pt x="328842" y="2045690"/>
                  <a:pt x="322612" y="2042575"/>
                  <a:pt x="317421" y="2039460"/>
                </a:cubicBezTo>
                <a:cubicBezTo>
                  <a:pt x="15288" y="1865005"/>
                  <a:pt x="-90614" y="1476635"/>
                  <a:pt x="84851" y="1173416"/>
                </a:cubicBezTo>
                <a:cubicBezTo>
                  <a:pt x="259279" y="871236"/>
                  <a:pt x="646548" y="767394"/>
                  <a:pt x="948681" y="941848"/>
                </a:cubicBezTo>
                <a:cubicBezTo>
                  <a:pt x="1042124" y="995846"/>
                  <a:pt x="1151141" y="1026999"/>
                  <a:pt x="1265349" y="1026999"/>
                </a:cubicBezTo>
                <a:cubicBezTo>
                  <a:pt x="1614203" y="1026999"/>
                  <a:pt x="1897647" y="744548"/>
                  <a:pt x="1897647" y="395639"/>
                </a:cubicBezTo>
                <a:cubicBezTo>
                  <a:pt x="1897647" y="253375"/>
                  <a:pt x="1946445" y="113188"/>
                  <a:pt x="2035735" y="0"/>
                </a:cubicBezTo>
                <a:close/>
              </a:path>
            </a:pathLst>
          </a:custGeom>
        </p:spPr>
        <p:txBody>
          <a:bodyPr wrap="square" tIns="21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013477F-ACAC-7B41-B204-AC139F13B7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10827773"/>
      </p:ext>
    </p:extLst>
  </p:cSld>
  <p:clrMapOvr>
    <a:masterClrMapping/>
  </p:clrMapOvr>
  <p:hf hdr="0" dt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 (Full Colour)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84E532BC-FF12-A43F-E81B-E040BE32F4D2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-2" y="0"/>
            <a:ext cx="11255605" cy="6858000"/>
          </a:xfrm>
          <a:custGeom>
            <a:avLst/>
            <a:gdLst>
              <a:gd name="connsiteX0" fmla="*/ 0 w 2678113"/>
              <a:gd name="connsiteY0" fmla="*/ 0 h 1638300"/>
              <a:gd name="connsiteX1" fmla="*/ 581706 w 2678113"/>
              <a:gd name="connsiteY1" fmla="*/ 0 h 1638300"/>
              <a:gd name="connsiteX2" fmla="*/ 1159634 w 2678113"/>
              <a:gd name="connsiteY2" fmla="*/ 0 h 1638300"/>
              <a:gd name="connsiteX3" fmla="*/ 1741340 w 2678113"/>
              <a:gd name="connsiteY3" fmla="*/ 0 h 1638300"/>
              <a:gd name="connsiteX4" fmla="*/ 2319269 w 2678113"/>
              <a:gd name="connsiteY4" fmla="*/ 0 h 1638300"/>
              <a:gd name="connsiteX5" fmla="*/ 2357042 w 2678113"/>
              <a:gd name="connsiteY5" fmla="*/ 0 h 1638300"/>
              <a:gd name="connsiteX6" fmla="*/ 2319269 w 2678113"/>
              <a:gd name="connsiteY6" fmla="*/ 140317 h 1638300"/>
              <a:gd name="connsiteX7" fmla="*/ 2357042 w 2678113"/>
              <a:gd name="connsiteY7" fmla="*/ 280635 h 1638300"/>
              <a:gd name="connsiteX8" fmla="*/ 2387260 w 2678113"/>
              <a:gd name="connsiteY8" fmla="*/ 326143 h 1638300"/>
              <a:gd name="connsiteX9" fmla="*/ 2576126 w 2678113"/>
              <a:gd name="connsiteY9" fmla="*/ 656079 h 1638300"/>
              <a:gd name="connsiteX10" fmla="*/ 2678113 w 2678113"/>
              <a:gd name="connsiteY10" fmla="*/ 834320 h 1638300"/>
              <a:gd name="connsiteX11" fmla="*/ 2459029 w 2678113"/>
              <a:gd name="connsiteY11" fmla="*/ 860866 h 1638300"/>
              <a:gd name="connsiteX12" fmla="*/ 2349487 w 2678113"/>
              <a:gd name="connsiteY12" fmla="*/ 982222 h 1638300"/>
              <a:gd name="connsiteX13" fmla="*/ 2323046 w 2678113"/>
              <a:gd name="connsiteY13" fmla="*/ 1099785 h 1638300"/>
              <a:gd name="connsiteX14" fmla="*/ 2349487 w 2678113"/>
              <a:gd name="connsiteY14" fmla="*/ 1312157 h 1638300"/>
              <a:gd name="connsiteX15" fmla="*/ 2519466 w 2678113"/>
              <a:gd name="connsiteY15" fmla="*/ 1638300 h 1638300"/>
              <a:gd name="connsiteX16" fmla="*/ 2319269 w 2678113"/>
              <a:gd name="connsiteY16" fmla="*/ 1638300 h 1638300"/>
              <a:gd name="connsiteX17" fmla="*/ 1741340 w 2678113"/>
              <a:gd name="connsiteY17" fmla="*/ 1638300 h 1638300"/>
              <a:gd name="connsiteX18" fmla="*/ 1159634 w 2678113"/>
              <a:gd name="connsiteY18" fmla="*/ 1638300 h 1638300"/>
              <a:gd name="connsiteX19" fmla="*/ 581706 w 2678113"/>
              <a:gd name="connsiteY19" fmla="*/ 1638300 h 1638300"/>
              <a:gd name="connsiteX20" fmla="*/ 0 w 2678113"/>
              <a:gd name="connsiteY20" fmla="*/ 1638300 h 1638300"/>
              <a:gd name="connsiteX21" fmla="*/ 0 w 2678113"/>
              <a:gd name="connsiteY21" fmla="*/ 1312157 h 1638300"/>
              <a:gd name="connsiteX22" fmla="*/ 0 w 2678113"/>
              <a:gd name="connsiteY22" fmla="*/ 982222 h 1638300"/>
              <a:gd name="connsiteX23" fmla="*/ 0 w 2678113"/>
              <a:gd name="connsiteY23" fmla="*/ 656079 h 1638300"/>
              <a:gd name="connsiteX24" fmla="*/ 0 w 2678113"/>
              <a:gd name="connsiteY24" fmla="*/ 326143 h 1638300"/>
              <a:gd name="connsiteX25" fmla="*/ 0 w 2678113"/>
              <a:gd name="connsiteY25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678113" h="1638300">
                <a:moveTo>
                  <a:pt x="0" y="0"/>
                </a:moveTo>
                <a:cubicBezTo>
                  <a:pt x="0" y="0"/>
                  <a:pt x="0" y="0"/>
                  <a:pt x="581706" y="0"/>
                </a:cubicBezTo>
                <a:cubicBezTo>
                  <a:pt x="581706" y="0"/>
                  <a:pt x="581706" y="0"/>
                  <a:pt x="1159634" y="0"/>
                </a:cubicBezTo>
                <a:cubicBezTo>
                  <a:pt x="1159634" y="0"/>
                  <a:pt x="1159634" y="0"/>
                  <a:pt x="1741340" y="0"/>
                </a:cubicBezTo>
                <a:cubicBezTo>
                  <a:pt x="1741340" y="0"/>
                  <a:pt x="1741340" y="0"/>
                  <a:pt x="2319269" y="0"/>
                </a:cubicBezTo>
                <a:cubicBezTo>
                  <a:pt x="2319269" y="0"/>
                  <a:pt x="2319269" y="0"/>
                  <a:pt x="2357042" y="0"/>
                </a:cubicBezTo>
                <a:cubicBezTo>
                  <a:pt x="2334378" y="41716"/>
                  <a:pt x="2319269" y="91017"/>
                  <a:pt x="2319269" y="140317"/>
                </a:cubicBezTo>
                <a:cubicBezTo>
                  <a:pt x="2319269" y="189618"/>
                  <a:pt x="2334378" y="238919"/>
                  <a:pt x="2357042" y="280635"/>
                </a:cubicBezTo>
                <a:cubicBezTo>
                  <a:pt x="2357042" y="280635"/>
                  <a:pt x="2357042" y="280635"/>
                  <a:pt x="2387260" y="326143"/>
                </a:cubicBezTo>
                <a:cubicBezTo>
                  <a:pt x="2387260" y="326143"/>
                  <a:pt x="2387260" y="326143"/>
                  <a:pt x="2576126" y="656079"/>
                </a:cubicBezTo>
                <a:cubicBezTo>
                  <a:pt x="2576126" y="656079"/>
                  <a:pt x="2576126" y="656079"/>
                  <a:pt x="2678113" y="834320"/>
                </a:cubicBezTo>
                <a:cubicBezTo>
                  <a:pt x="2606344" y="811565"/>
                  <a:pt x="2527021" y="822943"/>
                  <a:pt x="2459029" y="860866"/>
                </a:cubicBezTo>
                <a:cubicBezTo>
                  <a:pt x="2409924" y="887413"/>
                  <a:pt x="2372151" y="932921"/>
                  <a:pt x="2349487" y="982222"/>
                </a:cubicBezTo>
                <a:cubicBezTo>
                  <a:pt x="2330601" y="1020145"/>
                  <a:pt x="2323046" y="1058069"/>
                  <a:pt x="2323046" y="1099785"/>
                </a:cubicBezTo>
                <a:cubicBezTo>
                  <a:pt x="2323046" y="1171840"/>
                  <a:pt x="2334378" y="1243895"/>
                  <a:pt x="2349487" y="1312157"/>
                </a:cubicBezTo>
                <a:cubicBezTo>
                  <a:pt x="2383483" y="1429720"/>
                  <a:pt x="2440143" y="1543491"/>
                  <a:pt x="2519466" y="1638300"/>
                </a:cubicBezTo>
                <a:cubicBezTo>
                  <a:pt x="2519466" y="1638300"/>
                  <a:pt x="2519466" y="1638300"/>
                  <a:pt x="2319269" y="1638300"/>
                </a:cubicBezTo>
                <a:cubicBezTo>
                  <a:pt x="2319269" y="1638300"/>
                  <a:pt x="2319269" y="1638300"/>
                  <a:pt x="1741340" y="1638300"/>
                </a:cubicBezTo>
                <a:cubicBezTo>
                  <a:pt x="1741340" y="1638300"/>
                  <a:pt x="1741340" y="1638300"/>
                  <a:pt x="1159634" y="1638300"/>
                </a:cubicBezTo>
                <a:cubicBezTo>
                  <a:pt x="1159634" y="1638300"/>
                  <a:pt x="1159634" y="1638300"/>
                  <a:pt x="581706" y="1638300"/>
                </a:cubicBezTo>
                <a:cubicBezTo>
                  <a:pt x="581706" y="1638300"/>
                  <a:pt x="581706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7" name="Picture 6" descr="A colorful background with a yellow circle&#10;&#10;Description automatically generated">
            <a:extLst>
              <a:ext uri="{FF2B5EF4-FFF2-40B4-BE49-F238E27FC236}">
                <a16:creationId xmlns:a16="http://schemas.microsoft.com/office/drawing/2014/main" id="{1B1FA352-8795-6DB4-2152-036324FBAC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3901" y="0"/>
            <a:ext cx="25780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228939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 (Full Colour) Dark Image">
    <p:bg>
      <p:bgPr>
        <a:solidFill>
          <a:srgbClr val="A7A8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1C7857F-F7F1-5051-2D7C-555A2F260E0C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-2" y="0"/>
            <a:ext cx="11255605" cy="6858000"/>
          </a:xfrm>
          <a:custGeom>
            <a:avLst/>
            <a:gdLst>
              <a:gd name="connsiteX0" fmla="*/ 0 w 2678113"/>
              <a:gd name="connsiteY0" fmla="*/ 0 h 1638300"/>
              <a:gd name="connsiteX1" fmla="*/ 581706 w 2678113"/>
              <a:gd name="connsiteY1" fmla="*/ 0 h 1638300"/>
              <a:gd name="connsiteX2" fmla="*/ 1159634 w 2678113"/>
              <a:gd name="connsiteY2" fmla="*/ 0 h 1638300"/>
              <a:gd name="connsiteX3" fmla="*/ 1741340 w 2678113"/>
              <a:gd name="connsiteY3" fmla="*/ 0 h 1638300"/>
              <a:gd name="connsiteX4" fmla="*/ 2319269 w 2678113"/>
              <a:gd name="connsiteY4" fmla="*/ 0 h 1638300"/>
              <a:gd name="connsiteX5" fmla="*/ 2357042 w 2678113"/>
              <a:gd name="connsiteY5" fmla="*/ 0 h 1638300"/>
              <a:gd name="connsiteX6" fmla="*/ 2319269 w 2678113"/>
              <a:gd name="connsiteY6" fmla="*/ 140317 h 1638300"/>
              <a:gd name="connsiteX7" fmla="*/ 2357042 w 2678113"/>
              <a:gd name="connsiteY7" fmla="*/ 280635 h 1638300"/>
              <a:gd name="connsiteX8" fmla="*/ 2387260 w 2678113"/>
              <a:gd name="connsiteY8" fmla="*/ 326143 h 1638300"/>
              <a:gd name="connsiteX9" fmla="*/ 2576126 w 2678113"/>
              <a:gd name="connsiteY9" fmla="*/ 656079 h 1638300"/>
              <a:gd name="connsiteX10" fmla="*/ 2678113 w 2678113"/>
              <a:gd name="connsiteY10" fmla="*/ 834320 h 1638300"/>
              <a:gd name="connsiteX11" fmla="*/ 2459029 w 2678113"/>
              <a:gd name="connsiteY11" fmla="*/ 860866 h 1638300"/>
              <a:gd name="connsiteX12" fmla="*/ 2349487 w 2678113"/>
              <a:gd name="connsiteY12" fmla="*/ 982222 h 1638300"/>
              <a:gd name="connsiteX13" fmla="*/ 2323046 w 2678113"/>
              <a:gd name="connsiteY13" fmla="*/ 1099785 h 1638300"/>
              <a:gd name="connsiteX14" fmla="*/ 2349487 w 2678113"/>
              <a:gd name="connsiteY14" fmla="*/ 1312157 h 1638300"/>
              <a:gd name="connsiteX15" fmla="*/ 2519466 w 2678113"/>
              <a:gd name="connsiteY15" fmla="*/ 1638300 h 1638300"/>
              <a:gd name="connsiteX16" fmla="*/ 2319269 w 2678113"/>
              <a:gd name="connsiteY16" fmla="*/ 1638300 h 1638300"/>
              <a:gd name="connsiteX17" fmla="*/ 1741340 w 2678113"/>
              <a:gd name="connsiteY17" fmla="*/ 1638300 h 1638300"/>
              <a:gd name="connsiteX18" fmla="*/ 1159634 w 2678113"/>
              <a:gd name="connsiteY18" fmla="*/ 1638300 h 1638300"/>
              <a:gd name="connsiteX19" fmla="*/ 581706 w 2678113"/>
              <a:gd name="connsiteY19" fmla="*/ 1638300 h 1638300"/>
              <a:gd name="connsiteX20" fmla="*/ 0 w 2678113"/>
              <a:gd name="connsiteY20" fmla="*/ 1638300 h 1638300"/>
              <a:gd name="connsiteX21" fmla="*/ 0 w 2678113"/>
              <a:gd name="connsiteY21" fmla="*/ 1312157 h 1638300"/>
              <a:gd name="connsiteX22" fmla="*/ 0 w 2678113"/>
              <a:gd name="connsiteY22" fmla="*/ 982222 h 1638300"/>
              <a:gd name="connsiteX23" fmla="*/ 0 w 2678113"/>
              <a:gd name="connsiteY23" fmla="*/ 656079 h 1638300"/>
              <a:gd name="connsiteX24" fmla="*/ 0 w 2678113"/>
              <a:gd name="connsiteY24" fmla="*/ 326143 h 1638300"/>
              <a:gd name="connsiteX25" fmla="*/ 0 w 2678113"/>
              <a:gd name="connsiteY25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678113" h="1638300">
                <a:moveTo>
                  <a:pt x="0" y="0"/>
                </a:moveTo>
                <a:cubicBezTo>
                  <a:pt x="0" y="0"/>
                  <a:pt x="0" y="0"/>
                  <a:pt x="581706" y="0"/>
                </a:cubicBezTo>
                <a:cubicBezTo>
                  <a:pt x="581706" y="0"/>
                  <a:pt x="581706" y="0"/>
                  <a:pt x="1159634" y="0"/>
                </a:cubicBezTo>
                <a:cubicBezTo>
                  <a:pt x="1159634" y="0"/>
                  <a:pt x="1159634" y="0"/>
                  <a:pt x="1741340" y="0"/>
                </a:cubicBezTo>
                <a:cubicBezTo>
                  <a:pt x="1741340" y="0"/>
                  <a:pt x="1741340" y="0"/>
                  <a:pt x="2319269" y="0"/>
                </a:cubicBezTo>
                <a:cubicBezTo>
                  <a:pt x="2319269" y="0"/>
                  <a:pt x="2319269" y="0"/>
                  <a:pt x="2357042" y="0"/>
                </a:cubicBezTo>
                <a:cubicBezTo>
                  <a:pt x="2334378" y="41716"/>
                  <a:pt x="2319269" y="91017"/>
                  <a:pt x="2319269" y="140317"/>
                </a:cubicBezTo>
                <a:cubicBezTo>
                  <a:pt x="2319269" y="189618"/>
                  <a:pt x="2334378" y="238919"/>
                  <a:pt x="2357042" y="280635"/>
                </a:cubicBezTo>
                <a:cubicBezTo>
                  <a:pt x="2357042" y="280635"/>
                  <a:pt x="2357042" y="280635"/>
                  <a:pt x="2387260" y="326143"/>
                </a:cubicBezTo>
                <a:cubicBezTo>
                  <a:pt x="2387260" y="326143"/>
                  <a:pt x="2387260" y="326143"/>
                  <a:pt x="2576126" y="656079"/>
                </a:cubicBezTo>
                <a:cubicBezTo>
                  <a:pt x="2576126" y="656079"/>
                  <a:pt x="2576126" y="656079"/>
                  <a:pt x="2678113" y="834320"/>
                </a:cubicBezTo>
                <a:cubicBezTo>
                  <a:pt x="2606344" y="811565"/>
                  <a:pt x="2527021" y="822943"/>
                  <a:pt x="2459029" y="860866"/>
                </a:cubicBezTo>
                <a:cubicBezTo>
                  <a:pt x="2409924" y="887413"/>
                  <a:pt x="2372151" y="932921"/>
                  <a:pt x="2349487" y="982222"/>
                </a:cubicBezTo>
                <a:cubicBezTo>
                  <a:pt x="2330601" y="1020145"/>
                  <a:pt x="2323046" y="1058069"/>
                  <a:pt x="2323046" y="1099785"/>
                </a:cubicBezTo>
                <a:cubicBezTo>
                  <a:pt x="2323046" y="1171840"/>
                  <a:pt x="2334378" y="1243895"/>
                  <a:pt x="2349487" y="1312157"/>
                </a:cubicBezTo>
                <a:cubicBezTo>
                  <a:pt x="2383483" y="1429720"/>
                  <a:pt x="2440143" y="1543491"/>
                  <a:pt x="2519466" y="1638300"/>
                </a:cubicBezTo>
                <a:cubicBezTo>
                  <a:pt x="2519466" y="1638300"/>
                  <a:pt x="2519466" y="1638300"/>
                  <a:pt x="2319269" y="1638300"/>
                </a:cubicBezTo>
                <a:cubicBezTo>
                  <a:pt x="2319269" y="1638300"/>
                  <a:pt x="2319269" y="1638300"/>
                  <a:pt x="1741340" y="1638300"/>
                </a:cubicBezTo>
                <a:cubicBezTo>
                  <a:pt x="1741340" y="1638300"/>
                  <a:pt x="1741340" y="1638300"/>
                  <a:pt x="1159634" y="1638300"/>
                </a:cubicBezTo>
                <a:cubicBezTo>
                  <a:pt x="1159634" y="1638300"/>
                  <a:pt x="1159634" y="1638300"/>
                  <a:pt x="581706" y="1638300"/>
                </a:cubicBezTo>
                <a:cubicBezTo>
                  <a:pt x="581706" y="1638300"/>
                  <a:pt x="581706" y="1638300"/>
                  <a:pt x="0" y="1638300"/>
                </a:cubicBezTo>
                <a:cubicBezTo>
                  <a:pt x="0" y="1638300"/>
                  <a:pt x="0" y="1638300"/>
                  <a:pt x="0" y="1312157"/>
                </a:cubicBezTo>
                <a:cubicBezTo>
                  <a:pt x="0" y="1312157"/>
                  <a:pt x="0" y="1312157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4" name="Picture 3" descr="A colorful background with a yellow circle&#10;&#10;Description automatically generated">
            <a:extLst>
              <a:ext uri="{FF2B5EF4-FFF2-40B4-BE49-F238E27FC236}">
                <a16:creationId xmlns:a16="http://schemas.microsoft.com/office/drawing/2014/main" id="{732627F9-F370-0591-C057-AF446D065C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3901" y="0"/>
            <a:ext cx="257809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8BF5FAE-D19B-68EB-DD60-A7A23884BA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1200" y="5644800"/>
            <a:ext cx="5004000" cy="9342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030065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 (Full 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olorful circles and a black background&#10;&#10;Description automatically generated">
            <a:extLst>
              <a:ext uri="{FF2B5EF4-FFF2-40B4-BE49-F238E27FC236}">
                <a16:creationId xmlns:a16="http://schemas.microsoft.com/office/drawing/2014/main" id="{BA64FC08-ECEA-0F90-AB3C-91D0BF3F308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0" y="0"/>
            <a:ext cx="3048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34165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 (Full Colour)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6B533BC5-90F7-C111-CF8F-08F5D15E7D83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8286" cy="6858000"/>
          </a:xfrm>
          <a:custGeom>
            <a:avLst/>
            <a:gdLst>
              <a:gd name="connsiteX0" fmla="*/ 0 w 2901950"/>
              <a:gd name="connsiteY0" fmla="*/ 0 h 1638300"/>
              <a:gd name="connsiteX1" fmla="*/ 581902 w 2901950"/>
              <a:gd name="connsiteY1" fmla="*/ 0 h 1638300"/>
              <a:gd name="connsiteX2" fmla="*/ 1160024 w 2901950"/>
              <a:gd name="connsiteY2" fmla="*/ 0 h 1638300"/>
              <a:gd name="connsiteX3" fmla="*/ 1741926 w 2901950"/>
              <a:gd name="connsiteY3" fmla="*/ 0 h 1638300"/>
              <a:gd name="connsiteX4" fmla="*/ 2320049 w 2901950"/>
              <a:gd name="connsiteY4" fmla="*/ 0 h 1638300"/>
              <a:gd name="connsiteX5" fmla="*/ 2901950 w 2901950"/>
              <a:gd name="connsiteY5" fmla="*/ 0 h 1638300"/>
              <a:gd name="connsiteX6" fmla="*/ 2901950 w 2901950"/>
              <a:gd name="connsiteY6" fmla="*/ 326143 h 1638300"/>
              <a:gd name="connsiteX7" fmla="*/ 2728135 w 2901950"/>
              <a:gd name="connsiteY7" fmla="*/ 390613 h 1638300"/>
              <a:gd name="connsiteX8" fmla="*/ 2641228 w 2901950"/>
              <a:gd name="connsiteY8" fmla="*/ 511969 h 1638300"/>
              <a:gd name="connsiteX9" fmla="*/ 2588328 w 2901950"/>
              <a:gd name="connsiteY9" fmla="*/ 656079 h 1638300"/>
              <a:gd name="connsiteX10" fmla="*/ 2459856 w 2901950"/>
              <a:gd name="connsiteY10" fmla="*/ 982222 h 1638300"/>
              <a:gd name="connsiteX11" fmla="*/ 2433406 w 2901950"/>
              <a:gd name="connsiteY11" fmla="*/ 1054277 h 1638300"/>
              <a:gd name="connsiteX12" fmla="*/ 2335163 w 2901950"/>
              <a:gd name="connsiteY12" fmla="*/ 1308365 h 1638300"/>
              <a:gd name="connsiteX13" fmla="*/ 2320049 w 2901950"/>
              <a:gd name="connsiteY13" fmla="*/ 1350081 h 1638300"/>
              <a:gd name="connsiteX14" fmla="*/ 2225584 w 2901950"/>
              <a:gd name="connsiteY14" fmla="*/ 1596584 h 1638300"/>
              <a:gd name="connsiteX15" fmla="*/ 2214248 w 2901950"/>
              <a:gd name="connsiteY15" fmla="*/ 1638300 h 1638300"/>
              <a:gd name="connsiteX16" fmla="*/ 1741926 w 2901950"/>
              <a:gd name="connsiteY16" fmla="*/ 1638300 h 1638300"/>
              <a:gd name="connsiteX17" fmla="*/ 1160024 w 2901950"/>
              <a:gd name="connsiteY17" fmla="*/ 1638300 h 1638300"/>
              <a:gd name="connsiteX18" fmla="*/ 581902 w 2901950"/>
              <a:gd name="connsiteY18" fmla="*/ 1638300 h 1638300"/>
              <a:gd name="connsiteX19" fmla="*/ 0 w 2901950"/>
              <a:gd name="connsiteY19" fmla="*/ 1638300 h 1638300"/>
              <a:gd name="connsiteX20" fmla="*/ 0 w 2901950"/>
              <a:gd name="connsiteY20" fmla="*/ 1308365 h 1638300"/>
              <a:gd name="connsiteX21" fmla="*/ 0 w 2901950"/>
              <a:gd name="connsiteY21" fmla="*/ 982222 h 1638300"/>
              <a:gd name="connsiteX22" fmla="*/ 0 w 2901950"/>
              <a:gd name="connsiteY22" fmla="*/ 656079 h 1638300"/>
              <a:gd name="connsiteX23" fmla="*/ 0 w 2901950"/>
              <a:gd name="connsiteY23" fmla="*/ 326143 h 1638300"/>
              <a:gd name="connsiteX24" fmla="*/ 0 w 2901950"/>
              <a:gd name="connsiteY24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901950" h="1638300">
                <a:moveTo>
                  <a:pt x="0" y="0"/>
                </a:moveTo>
                <a:cubicBezTo>
                  <a:pt x="0" y="0"/>
                  <a:pt x="0" y="0"/>
                  <a:pt x="581902" y="0"/>
                </a:cubicBezTo>
                <a:cubicBezTo>
                  <a:pt x="581902" y="0"/>
                  <a:pt x="581902" y="0"/>
                  <a:pt x="1160024" y="0"/>
                </a:cubicBezTo>
                <a:cubicBezTo>
                  <a:pt x="1160024" y="0"/>
                  <a:pt x="1160024" y="0"/>
                  <a:pt x="1741926" y="0"/>
                </a:cubicBezTo>
                <a:cubicBezTo>
                  <a:pt x="1741926" y="0"/>
                  <a:pt x="1741926" y="0"/>
                  <a:pt x="2320049" y="0"/>
                </a:cubicBezTo>
                <a:lnTo>
                  <a:pt x="2901950" y="0"/>
                </a:lnTo>
                <a:cubicBezTo>
                  <a:pt x="2901950" y="0"/>
                  <a:pt x="2901950" y="0"/>
                  <a:pt x="2901950" y="326143"/>
                </a:cubicBezTo>
                <a:cubicBezTo>
                  <a:pt x="2841493" y="329936"/>
                  <a:pt x="2777257" y="352690"/>
                  <a:pt x="2728135" y="390613"/>
                </a:cubicBezTo>
                <a:cubicBezTo>
                  <a:pt x="2690350" y="424745"/>
                  <a:pt x="2660121" y="466461"/>
                  <a:pt x="2641228" y="511969"/>
                </a:cubicBezTo>
                <a:cubicBezTo>
                  <a:pt x="2641228" y="511969"/>
                  <a:pt x="2641228" y="511969"/>
                  <a:pt x="2588328" y="656079"/>
                </a:cubicBezTo>
                <a:cubicBezTo>
                  <a:pt x="2588328" y="656079"/>
                  <a:pt x="2588328" y="656079"/>
                  <a:pt x="2459856" y="982222"/>
                </a:cubicBezTo>
                <a:cubicBezTo>
                  <a:pt x="2459856" y="982222"/>
                  <a:pt x="2459856" y="982222"/>
                  <a:pt x="2433406" y="1054277"/>
                </a:cubicBezTo>
                <a:cubicBezTo>
                  <a:pt x="2433406" y="1054277"/>
                  <a:pt x="2433406" y="1054277"/>
                  <a:pt x="2335163" y="1308365"/>
                </a:cubicBezTo>
                <a:cubicBezTo>
                  <a:pt x="2335163" y="1308365"/>
                  <a:pt x="2335163" y="1308365"/>
                  <a:pt x="2320049" y="1350081"/>
                </a:cubicBezTo>
                <a:cubicBezTo>
                  <a:pt x="2320049" y="1350081"/>
                  <a:pt x="2320049" y="1350081"/>
                  <a:pt x="2225584" y="1596584"/>
                </a:cubicBezTo>
                <a:cubicBezTo>
                  <a:pt x="2221806" y="1607961"/>
                  <a:pt x="2218027" y="1623131"/>
                  <a:pt x="2214248" y="1638300"/>
                </a:cubicBezTo>
                <a:cubicBezTo>
                  <a:pt x="2214248" y="1638300"/>
                  <a:pt x="2214248" y="1638300"/>
                  <a:pt x="1741926" y="1638300"/>
                </a:cubicBezTo>
                <a:cubicBezTo>
                  <a:pt x="1741926" y="1638300"/>
                  <a:pt x="1741926" y="1638300"/>
                  <a:pt x="1160024" y="1638300"/>
                </a:cubicBezTo>
                <a:cubicBezTo>
                  <a:pt x="1160024" y="1638300"/>
                  <a:pt x="1160024" y="1638300"/>
                  <a:pt x="581902" y="1638300"/>
                </a:cubicBezTo>
                <a:cubicBezTo>
                  <a:pt x="581902" y="1638300"/>
                  <a:pt x="581902" y="1638300"/>
                  <a:pt x="0" y="1638300"/>
                </a:cubicBezTo>
                <a:cubicBezTo>
                  <a:pt x="0" y="1638300"/>
                  <a:pt x="0" y="1638300"/>
                  <a:pt x="0" y="1308365"/>
                </a:cubicBezTo>
                <a:cubicBezTo>
                  <a:pt x="0" y="1308365"/>
                  <a:pt x="0" y="1308365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  <a:noFill/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7" name="Picture 6" descr="A colorful circles and a black background&#10;&#10;Description automatically generated">
            <a:extLst>
              <a:ext uri="{FF2B5EF4-FFF2-40B4-BE49-F238E27FC236}">
                <a16:creationId xmlns:a16="http://schemas.microsoft.com/office/drawing/2014/main" id="{E3B2E7AF-7F6F-7319-5894-01BE4B1346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0" y="0"/>
            <a:ext cx="3048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91559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 (Full Colour) Dark Image">
    <p:bg>
      <p:bgPr>
        <a:solidFill>
          <a:srgbClr val="A7A8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4A0AA0A-BF81-ACA8-E016-4EE23C249B75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8286" cy="6858000"/>
          </a:xfrm>
          <a:custGeom>
            <a:avLst/>
            <a:gdLst>
              <a:gd name="connsiteX0" fmla="*/ 0 w 2901950"/>
              <a:gd name="connsiteY0" fmla="*/ 0 h 1638300"/>
              <a:gd name="connsiteX1" fmla="*/ 581902 w 2901950"/>
              <a:gd name="connsiteY1" fmla="*/ 0 h 1638300"/>
              <a:gd name="connsiteX2" fmla="*/ 1160024 w 2901950"/>
              <a:gd name="connsiteY2" fmla="*/ 0 h 1638300"/>
              <a:gd name="connsiteX3" fmla="*/ 1741926 w 2901950"/>
              <a:gd name="connsiteY3" fmla="*/ 0 h 1638300"/>
              <a:gd name="connsiteX4" fmla="*/ 2320049 w 2901950"/>
              <a:gd name="connsiteY4" fmla="*/ 0 h 1638300"/>
              <a:gd name="connsiteX5" fmla="*/ 2901950 w 2901950"/>
              <a:gd name="connsiteY5" fmla="*/ 0 h 1638300"/>
              <a:gd name="connsiteX6" fmla="*/ 2901950 w 2901950"/>
              <a:gd name="connsiteY6" fmla="*/ 326143 h 1638300"/>
              <a:gd name="connsiteX7" fmla="*/ 2728135 w 2901950"/>
              <a:gd name="connsiteY7" fmla="*/ 390613 h 1638300"/>
              <a:gd name="connsiteX8" fmla="*/ 2641228 w 2901950"/>
              <a:gd name="connsiteY8" fmla="*/ 511969 h 1638300"/>
              <a:gd name="connsiteX9" fmla="*/ 2588328 w 2901950"/>
              <a:gd name="connsiteY9" fmla="*/ 656079 h 1638300"/>
              <a:gd name="connsiteX10" fmla="*/ 2459856 w 2901950"/>
              <a:gd name="connsiteY10" fmla="*/ 982222 h 1638300"/>
              <a:gd name="connsiteX11" fmla="*/ 2433406 w 2901950"/>
              <a:gd name="connsiteY11" fmla="*/ 1054277 h 1638300"/>
              <a:gd name="connsiteX12" fmla="*/ 2335163 w 2901950"/>
              <a:gd name="connsiteY12" fmla="*/ 1308365 h 1638300"/>
              <a:gd name="connsiteX13" fmla="*/ 2320049 w 2901950"/>
              <a:gd name="connsiteY13" fmla="*/ 1350081 h 1638300"/>
              <a:gd name="connsiteX14" fmla="*/ 2225584 w 2901950"/>
              <a:gd name="connsiteY14" fmla="*/ 1596584 h 1638300"/>
              <a:gd name="connsiteX15" fmla="*/ 2214248 w 2901950"/>
              <a:gd name="connsiteY15" fmla="*/ 1638300 h 1638300"/>
              <a:gd name="connsiteX16" fmla="*/ 1741926 w 2901950"/>
              <a:gd name="connsiteY16" fmla="*/ 1638300 h 1638300"/>
              <a:gd name="connsiteX17" fmla="*/ 1160024 w 2901950"/>
              <a:gd name="connsiteY17" fmla="*/ 1638300 h 1638300"/>
              <a:gd name="connsiteX18" fmla="*/ 581902 w 2901950"/>
              <a:gd name="connsiteY18" fmla="*/ 1638300 h 1638300"/>
              <a:gd name="connsiteX19" fmla="*/ 0 w 2901950"/>
              <a:gd name="connsiteY19" fmla="*/ 1638300 h 1638300"/>
              <a:gd name="connsiteX20" fmla="*/ 0 w 2901950"/>
              <a:gd name="connsiteY20" fmla="*/ 1308365 h 1638300"/>
              <a:gd name="connsiteX21" fmla="*/ 0 w 2901950"/>
              <a:gd name="connsiteY21" fmla="*/ 982222 h 1638300"/>
              <a:gd name="connsiteX22" fmla="*/ 0 w 2901950"/>
              <a:gd name="connsiteY22" fmla="*/ 656079 h 1638300"/>
              <a:gd name="connsiteX23" fmla="*/ 0 w 2901950"/>
              <a:gd name="connsiteY23" fmla="*/ 326143 h 1638300"/>
              <a:gd name="connsiteX24" fmla="*/ 0 w 2901950"/>
              <a:gd name="connsiteY24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901950" h="1638300">
                <a:moveTo>
                  <a:pt x="0" y="0"/>
                </a:moveTo>
                <a:cubicBezTo>
                  <a:pt x="0" y="0"/>
                  <a:pt x="0" y="0"/>
                  <a:pt x="581902" y="0"/>
                </a:cubicBezTo>
                <a:cubicBezTo>
                  <a:pt x="581902" y="0"/>
                  <a:pt x="581902" y="0"/>
                  <a:pt x="1160024" y="0"/>
                </a:cubicBezTo>
                <a:cubicBezTo>
                  <a:pt x="1160024" y="0"/>
                  <a:pt x="1160024" y="0"/>
                  <a:pt x="1741926" y="0"/>
                </a:cubicBezTo>
                <a:cubicBezTo>
                  <a:pt x="1741926" y="0"/>
                  <a:pt x="1741926" y="0"/>
                  <a:pt x="2320049" y="0"/>
                </a:cubicBezTo>
                <a:lnTo>
                  <a:pt x="2901950" y="0"/>
                </a:lnTo>
                <a:cubicBezTo>
                  <a:pt x="2901950" y="0"/>
                  <a:pt x="2901950" y="0"/>
                  <a:pt x="2901950" y="326143"/>
                </a:cubicBezTo>
                <a:cubicBezTo>
                  <a:pt x="2841493" y="329936"/>
                  <a:pt x="2777257" y="352690"/>
                  <a:pt x="2728135" y="390613"/>
                </a:cubicBezTo>
                <a:cubicBezTo>
                  <a:pt x="2690350" y="424745"/>
                  <a:pt x="2660121" y="466461"/>
                  <a:pt x="2641228" y="511969"/>
                </a:cubicBezTo>
                <a:cubicBezTo>
                  <a:pt x="2641228" y="511969"/>
                  <a:pt x="2641228" y="511969"/>
                  <a:pt x="2588328" y="656079"/>
                </a:cubicBezTo>
                <a:cubicBezTo>
                  <a:pt x="2588328" y="656079"/>
                  <a:pt x="2588328" y="656079"/>
                  <a:pt x="2459856" y="982222"/>
                </a:cubicBezTo>
                <a:cubicBezTo>
                  <a:pt x="2459856" y="982222"/>
                  <a:pt x="2459856" y="982222"/>
                  <a:pt x="2433406" y="1054277"/>
                </a:cubicBezTo>
                <a:cubicBezTo>
                  <a:pt x="2433406" y="1054277"/>
                  <a:pt x="2433406" y="1054277"/>
                  <a:pt x="2335163" y="1308365"/>
                </a:cubicBezTo>
                <a:cubicBezTo>
                  <a:pt x="2335163" y="1308365"/>
                  <a:pt x="2335163" y="1308365"/>
                  <a:pt x="2320049" y="1350081"/>
                </a:cubicBezTo>
                <a:cubicBezTo>
                  <a:pt x="2320049" y="1350081"/>
                  <a:pt x="2320049" y="1350081"/>
                  <a:pt x="2225584" y="1596584"/>
                </a:cubicBezTo>
                <a:cubicBezTo>
                  <a:pt x="2221806" y="1607961"/>
                  <a:pt x="2218027" y="1623131"/>
                  <a:pt x="2214248" y="1638300"/>
                </a:cubicBezTo>
                <a:cubicBezTo>
                  <a:pt x="2214248" y="1638300"/>
                  <a:pt x="2214248" y="1638300"/>
                  <a:pt x="1741926" y="1638300"/>
                </a:cubicBezTo>
                <a:cubicBezTo>
                  <a:pt x="1741926" y="1638300"/>
                  <a:pt x="1741926" y="1638300"/>
                  <a:pt x="1160024" y="1638300"/>
                </a:cubicBezTo>
                <a:cubicBezTo>
                  <a:pt x="1160024" y="1638300"/>
                  <a:pt x="1160024" y="1638300"/>
                  <a:pt x="581902" y="1638300"/>
                </a:cubicBezTo>
                <a:cubicBezTo>
                  <a:pt x="581902" y="1638300"/>
                  <a:pt x="581902" y="1638300"/>
                  <a:pt x="0" y="1638300"/>
                </a:cubicBezTo>
                <a:cubicBezTo>
                  <a:pt x="0" y="1638300"/>
                  <a:pt x="0" y="1638300"/>
                  <a:pt x="0" y="1308365"/>
                </a:cubicBezTo>
                <a:cubicBezTo>
                  <a:pt x="0" y="1308365"/>
                  <a:pt x="0" y="1308365"/>
                  <a:pt x="0" y="982222"/>
                </a:cubicBezTo>
                <a:cubicBezTo>
                  <a:pt x="0" y="982222"/>
                  <a:pt x="0" y="982222"/>
                  <a:pt x="0" y="656079"/>
                </a:cubicBezTo>
                <a:cubicBezTo>
                  <a:pt x="0" y="656079"/>
                  <a:pt x="0" y="656079"/>
                  <a:pt x="0" y="326143"/>
                </a:cubicBezTo>
                <a:cubicBezTo>
                  <a:pt x="0" y="326143"/>
                  <a:pt x="0" y="326143"/>
                  <a:pt x="0" y="0"/>
                </a:cubicBezTo>
                <a:close/>
              </a:path>
            </a:pathLst>
          </a:custGeom>
          <a:noFill/>
        </p:spPr>
        <p:txBody>
          <a:bodyPr wrap="square" tIns="360000">
            <a:noAutofit/>
          </a:bodyPr>
          <a:lstStyle>
            <a:lvl1pPr algn="ctr"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4" name="Picture 3" descr="A colorful circles and a black background&#10;&#10;Description automatically generated">
            <a:extLst>
              <a:ext uri="{FF2B5EF4-FFF2-40B4-BE49-F238E27FC236}">
                <a16:creationId xmlns:a16="http://schemas.microsoft.com/office/drawing/2014/main" id="{3A6839E8-C4DA-B75E-95D4-3470D67610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0" y="0"/>
            <a:ext cx="3048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8BF5FAE-D19B-68EB-DD60-A7A23884BA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1200" y="5644800"/>
            <a:ext cx="5004000" cy="9342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0141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yellow and orange curved object&#10;&#10;Description automatically generated">
            <a:extLst>
              <a:ext uri="{FF2B5EF4-FFF2-40B4-BE49-F238E27FC236}">
                <a16:creationId xmlns:a16="http://schemas.microsoft.com/office/drawing/2014/main" id="{3E5D2A65-B6A1-B307-849A-B908EBCF9E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8842" y="4776791"/>
            <a:ext cx="3348165" cy="2081210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FA25391-214F-BAE1-D237-9A5DA6730DEC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428529" y="0"/>
            <a:ext cx="6763471" cy="6858000"/>
          </a:xfrm>
          <a:custGeom>
            <a:avLst/>
            <a:gdLst>
              <a:gd name="connsiteX0" fmla="*/ 377459 w 3359817"/>
              <a:gd name="connsiteY0" fmla="*/ 0 h 3406775"/>
              <a:gd name="connsiteX1" fmla="*/ 3359817 w 3359817"/>
              <a:gd name="connsiteY1" fmla="*/ 0 h 3406775"/>
              <a:gd name="connsiteX2" fmla="*/ 3359817 w 3359817"/>
              <a:gd name="connsiteY2" fmla="*/ 3406775 h 3406775"/>
              <a:gd name="connsiteX3" fmla="*/ 2223681 w 3359817"/>
              <a:gd name="connsiteY3" fmla="*/ 3406775 h 3406775"/>
              <a:gd name="connsiteX4" fmla="*/ 740392 w 3359817"/>
              <a:gd name="connsiteY4" fmla="*/ 2562967 h 3406775"/>
              <a:gd name="connsiteX5" fmla="*/ 46086 w 3359817"/>
              <a:gd name="connsiteY5" fmla="*/ 1939969 h 3406775"/>
              <a:gd name="connsiteX6" fmla="*/ 235442 w 3359817"/>
              <a:gd name="connsiteY6" fmla="*/ 1033073 h 3406775"/>
              <a:gd name="connsiteX7" fmla="*/ 424798 w 3359817"/>
              <a:gd name="connsiteY7" fmla="*/ 126177 h 3406775"/>
              <a:gd name="connsiteX8" fmla="*/ 377459 w 3359817"/>
              <a:gd name="connsiteY8" fmla="*/ 0 h 340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9817" h="3406775">
                <a:moveTo>
                  <a:pt x="377459" y="0"/>
                </a:moveTo>
                <a:lnTo>
                  <a:pt x="3359817" y="0"/>
                </a:lnTo>
                <a:cubicBezTo>
                  <a:pt x="3359817" y="3406775"/>
                  <a:pt x="3359817" y="3406775"/>
                  <a:pt x="3359817" y="3406775"/>
                </a:cubicBezTo>
                <a:cubicBezTo>
                  <a:pt x="2223681" y="3406775"/>
                  <a:pt x="2223681" y="3406775"/>
                  <a:pt x="2223681" y="3406775"/>
                </a:cubicBezTo>
                <a:cubicBezTo>
                  <a:pt x="1837079" y="2980928"/>
                  <a:pt x="1324239" y="2681258"/>
                  <a:pt x="740392" y="2562967"/>
                </a:cubicBezTo>
                <a:cubicBezTo>
                  <a:pt x="416908" y="2491993"/>
                  <a:pt x="148654" y="2255411"/>
                  <a:pt x="46086" y="1939969"/>
                </a:cubicBezTo>
                <a:cubicBezTo>
                  <a:pt x="-56482" y="1624527"/>
                  <a:pt x="14527" y="1277541"/>
                  <a:pt x="235442" y="1033073"/>
                </a:cubicBezTo>
                <a:cubicBezTo>
                  <a:pt x="456358" y="788605"/>
                  <a:pt x="535256" y="441619"/>
                  <a:pt x="424798" y="126177"/>
                </a:cubicBezTo>
                <a:cubicBezTo>
                  <a:pt x="416908" y="78861"/>
                  <a:pt x="393239" y="39430"/>
                  <a:pt x="377459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4510395" cy="2276399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62768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ack and orange gradient&#10;&#10;Description automatically generated">
            <a:extLst>
              <a:ext uri="{FF2B5EF4-FFF2-40B4-BE49-F238E27FC236}">
                <a16:creationId xmlns:a16="http://schemas.microsoft.com/office/drawing/2014/main" id="{F9DFBF29-178B-7AE6-A802-BD30CC89A1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6535" y="5010151"/>
            <a:ext cx="3449872" cy="1851438"/>
          </a:xfrm>
          <a:prstGeom prst="rect">
            <a:avLst/>
          </a:prstGeom>
        </p:spPr>
      </p:pic>
      <p:sp>
        <p:nvSpPr>
          <p:cNvPr id="59" name="Picture Placeholder 58">
            <a:extLst>
              <a:ext uri="{FF2B5EF4-FFF2-40B4-BE49-F238E27FC236}">
                <a16:creationId xmlns:a16="http://schemas.microsoft.com/office/drawing/2014/main" id="{35ABE09A-64D7-D976-53AA-CE8331A5F129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397535" y="0"/>
            <a:ext cx="6794466" cy="6858000"/>
          </a:xfrm>
          <a:custGeom>
            <a:avLst/>
            <a:gdLst>
              <a:gd name="connsiteX0" fmla="*/ 0 w 2716213"/>
              <a:gd name="connsiteY0" fmla="*/ 0 h 2741612"/>
              <a:gd name="connsiteX1" fmla="*/ 2716213 w 2716213"/>
              <a:gd name="connsiteY1" fmla="*/ 0 h 2741612"/>
              <a:gd name="connsiteX2" fmla="*/ 2716213 w 2716213"/>
              <a:gd name="connsiteY2" fmla="*/ 2741612 h 2741612"/>
              <a:gd name="connsiteX3" fmla="*/ 1821386 w 2716213"/>
              <a:gd name="connsiteY3" fmla="*/ 2741612 h 2741612"/>
              <a:gd name="connsiteX4" fmla="*/ 1808693 w 2716213"/>
              <a:gd name="connsiteY4" fmla="*/ 2468720 h 2741612"/>
              <a:gd name="connsiteX5" fmla="*/ 1707153 w 2716213"/>
              <a:gd name="connsiteY5" fmla="*/ 2221214 h 2741612"/>
              <a:gd name="connsiteX6" fmla="*/ 1497725 w 2716213"/>
              <a:gd name="connsiteY6" fmla="*/ 2062556 h 2741612"/>
              <a:gd name="connsiteX7" fmla="*/ 1237527 w 2716213"/>
              <a:gd name="connsiteY7" fmla="*/ 2030824 h 2741612"/>
              <a:gd name="connsiteX8" fmla="*/ 1104255 w 2716213"/>
              <a:gd name="connsiteY8" fmla="*/ 2062556 h 2741612"/>
              <a:gd name="connsiteX9" fmla="*/ 990022 w 2716213"/>
              <a:gd name="connsiteY9" fmla="*/ 2132365 h 2741612"/>
              <a:gd name="connsiteX10" fmla="*/ 742516 w 2716213"/>
              <a:gd name="connsiteY10" fmla="*/ 2233906 h 2741612"/>
              <a:gd name="connsiteX11" fmla="*/ 482318 w 2716213"/>
              <a:gd name="connsiteY11" fmla="*/ 2195828 h 2741612"/>
              <a:gd name="connsiteX12" fmla="*/ 272891 w 2716213"/>
              <a:gd name="connsiteY12" fmla="*/ 2037170 h 2741612"/>
              <a:gd name="connsiteX13" fmla="*/ 171350 w 2716213"/>
              <a:gd name="connsiteY13" fmla="*/ 1789664 h 2741612"/>
              <a:gd name="connsiteX14" fmla="*/ 203082 w 2716213"/>
              <a:gd name="connsiteY14" fmla="*/ 1529464 h 2741612"/>
              <a:gd name="connsiteX15" fmla="*/ 368085 w 2716213"/>
              <a:gd name="connsiteY15" fmla="*/ 1320036 h 2741612"/>
              <a:gd name="connsiteX16" fmla="*/ 526742 w 2716213"/>
              <a:gd name="connsiteY16" fmla="*/ 1104261 h 2741612"/>
              <a:gd name="connsiteX17" fmla="*/ 558474 w 2716213"/>
              <a:gd name="connsiteY17" fmla="*/ 844061 h 2741612"/>
              <a:gd name="connsiteX18" fmla="*/ 456933 w 2716213"/>
              <a:gd name="connsiteY18" fmla="*/ 596555 h 2741612"/>
              <a:gd name="connsiteX19" fmla="*/ 0 w 2716213"/>
              <a:gd name="connsiteY19" fmla="*/ 0 h 2741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716213" h="2741612">
                <a:moveTo>
                  <a:pt x="0" y="0"/>
                </a:moveTo>
                <a:lnTo>
                  <a:pt x="2716213" y="0"/>
                </a:lnTo>
                <a:cubicBezTo>
                  <a:pt x="2716213" y="2741612"/>
                  <a:pt x="2716213" y="2741612"/>
                  <a:pt x="2716213" y="2741612"/>
                </a:cubicBezTo>
                <a:cubicBezTo>
                  <a:pt x="1821386" y="2741612"/>
                  <a:pt x="1821386" y="2741612"/>
                  <a:pt x="1821386" y="2741612"/>
                </a:cubicBezTo>
                <a:cubicBezTo>
                  <a:pt x="1827732" y="2652764"/>
                  <a:pt x="1821386" y="2557569"/>
                  <a:pt x="1808693" y="2468720"/>
                </a:cubicBezTo>
                <a:cubicBezTo>
                  <a:pt x="1796001" y="2373525"/>
                  <a:pt x="1764269" y="2291023"/>
                  <a:pt x="1707153" y="2221214"/>
                </a:cubicBezTo>
                <a:cubicBezTo>
                  <a:pt x="1656382" y="2151404"/>
                  <a:pt x="1580227" y="2094287"/>
                  <a:pt x="1497725" y="2062556"/>
                </a:cubicBezTo>
                <a:cubicBezTo>
                  <a:pt x="1415223" y="2030824"/>
                  <a:pt x="1326375" y="2018131"/>
                  <a:pt x="1237527" y="2030824"/>
                </a:cubicBezTo>
                <a:cubicBezTo>
                  <a:pt x="1186757" y="2037170"/>
                  <a:pt x="1142333" y="2043517"/>
                  <a:pt x="1104255" y="2062556"/>
                </a:cubicBezTo>
                <a:cubicBezTo>
                  <a:pt x="1059831" y="2081594"/>
                  <a:pt x="1021753" y="2100633"/>
                  <a:pt x="990022" y="2132365"/>
                </a:cubicBezTo>
                <a:cubicBezTo>
                  <a:pt x="920213" y="2183136"/>
                  <a:pt x="837711" y="2221214"/>
                  <a:pt x="742516" y="2233906"/>
                </a:cubicBezTo>
                <a:cubicBezTo>
                  <a:pt x="653668" y="2246599"/>
                  <a:pt x="564820" y="2227560"/>
                  <a:pt x="482318" y="2195828"/>
                </a:cubicBezTo>
                <a:cubicBezTo>
                  <a:pt x="399817" y="2164097"/>
                  <a:pt x="323661" y="2106980"/>
                  <a:pt x="272891" y="2037170"/>
                </a:cubicBezTo>
                <a:cubicBezTo>
                  <a:pt x="215774" y="1967361"/>
                  <a:pt x="184043" y="1884858"/>
                  <a:pt x="171350" y="1789664"/>
                </a:cubicBezTo>
                <a:cubicBezTo>
                  <a:pt x="158658" y="1700815"/>
                  <a:pt x="171350" y="1605620"/>
                  <a:pt x="203082" y="1529464"/>
                </a:cubicBezTo>
                <a:cubicBezTo>
                  <a:pt x="241159" y="1446962"/>
                  <a:pt x="291930" y="1370806"/>
                  <a:pt x="368085" y="1320036"/>
                </a:cubicBezTo>
                <a:cubicBezTo>
                  <a:pt x="437894" y="1262919"/>
                  <a:pt x="495011" y="1193109"/>
                  <a:pt x="526742" y="1104261"/>
                </a:cubicBezTo>
                <a:cubicBezTo>
                  <a:pt x="558474" y="1028105"/>
                  <a:pt x="571167" y="939256"/>
                  <a:pt x="558474" y="844061"/>
                </a:cubicBezTo>
                <a:cubicBezTo>
                  <a:pt x="552128" y="748866"/>
                  <a:pt x="514050" y="666364"/>
                  <a:pt x="456933" y="596555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88175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Picture Placeholder 1026">
            <a:extLst>
              <a:ext uri="{FF2B5EF4-FFF2-40B4-BE49-F238E27FC236}">
                <a16:creationId xmlns:a16="http://schemas.microsoft.com/office/drawing/2014/main" id="{9A301015-C05B-1EA1-0EAE-127A1D8E1430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4217581" y="0"/>
            <a:ext cx="7974419" cy="6858000"/>
          </a:xfrm>
          <a:custGeom>
            <a:avLst/>
            <a:gdLst>
              <a:gd name="connsiteX0" fmla="*/ 0 w 1905000"/>
              <a:gd name="connsiteY0" fmla="*/ 0 h 1638300"/>
              <a:gd name="connsiteX1" fmla="*/ 1905000 w 1905000"/>
              <a:gd name="connsiteY1" fmla="*/ 0 h 1638300"/>
              <a:gd name="connsiteX2" fmla="*/ 1905000 w 1905000"/>
              <a:gd name="connsiteY2" fmla="*/ 1638300 h 1638300"/>
              <a:gd name="connsiteX3" fmla="*/ 1590656 w 1905000"/>
              <a:gd name="connsiteY3" fmla="*/ 1638300 h 1638300"/>
              <a:gd name="connsiteX4" fmla="*/ 1276312 w 1905000"/>
              <a:gd name="connsiteY4" fmla="*/ 1471436 h 1638300"/>
              <a:gd name="connsiteX5" fmla="*/ 1136183 w 1905000"/>
              <a:gd name="connsiteY5" fmla="*/ 1171840 h 1638300"/>
              <a:gd name="connsiteX6" fmla="*/ 314344 w 1905000"/>
              <a:gd name="connsiteY6" fmla="*/ 200995 h 1638300"/>
              <a:gd name="connsiteX7" fmla="*/ 45448 w 1905000"/>
              <a:gd name="connsiteY7" fmla="*/ 11377 h 1638300"/>
              <a:gd name="connsiteX8" fmla="*/ 0 w 1905000"/>
              <a:gd name="connsiteY8" fmla="*/ 0 h 163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05000" h="1638300">
                <a:moveTo>
                  <a:pt x="0" y="0"/>
                </a:moveTo>
                <a:lnTo>
                  <a:pt x="1905000" y="0"/>
                </a:lnTo>
                <a:cubicBezTo>
                  <a:pt x="1905000" y="0"/>
                  <a:pt x="1905000" y="0"/>
                  <a:pt x="1905000" y="1638300"/>
                </a:cubicBezTo>
                <a:cubicBezTo>
                  <a:pt x="1905000" y="1638300"/>
                  <a:pt x="1905000" y="1638300"/>
                  <a:pt x="1590656" y="1638300"/>
                </a:cubicBezTo>
                <a:cubicBezTo>
                  <a:pt x="1495974" y="1570038"/>
                  <a:pt x="1389931" y="1513152"/>
                  <a:pt x="1276312" y="1471436"/>
                </a:cubicBezTo>
                <a:cubicBezTo>
                  <a:pt x="1257376" y="1361458"/>
                  <a:pt x="1208141" y="1259064"/>
                  <a:pt x="1136183" y="1171840"/>
                </a:cubicBezTo>
                <a:cubicBezTo>
                  <a:pt x="1136183" y="1171840"/>
                  <a:pt x="1136183" y="1171840"/>
                  <a:pt x="314344" y="200995"/>
                </a:cubicBezTo>
                <a:cubicBezTo>
                  <a:pt x="242386" y="117563"/>
                  <a:pt x="151491" y="53093"/>
                  <a:pt x="45448" y="11377"/>
                </a:cubicBezTo>
                <a:cubicBezTo>
                  <a:pt x="30298" y="7585"/>
                  <a:pt x="15149" y="3792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8" name="Picture 7" descr="A red rectangular object with black border&#10;&#10;Description automatically generated">
            <a:extLst>
              <a:ext uri="{FF2B5EF4-FFF2-40B4-BE49-F238E27FC236}">
                <a16:creationId xmlns:a16="http://schemas.microsoft.com/office/drawing/2014/main" id="{ABFACA10-0B70-D0B7-6BBA-18036D767D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374" y="5790611"/>
            <a:ext cx="6419851" cy="10673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C9918D-BA13-C7B2-DD69-2DC8F3E605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1376363"/>
            <a:ext cx="5465762" cy="2276399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4000" spc="-1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126F13-0AE9-3175-DE16-03EC60AEA7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4838" y="3990974"/>
            <a:ext cx="4510395" cy="1047751"/>
          </a:xfrm>
        </p:spPr>
        <p:txBody>
          <a:bodyPr anchor="t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3A8108-6468-F37B-B08D-4576298F5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EE5C0-CA83-92F8-E574-92C5F4ED2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2061" name="Picture 13">
            <a:extLst>
              <a:ext uri="{FF2B5EF4-FFF2-40B4-BE49-F238E27FC236}">
                <a16:creationId xmlns:a16="http://schemas.microsoft.com/office/drawing/2014/main" id="{11323A8E-58B2-5227-B848-7987730AF7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6853238"/>
            <a:ext cx="133350" cy="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3EBC5E-BE86-E879-A12E-9A2174CA6D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" y="5643501"/>
            <a:ext cx="5004000" cy="9328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462900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black and orange gradient&#10;&#10;Description automatically generated">
            <a:extLst>
              <a:ext uri="{FF2B5EF4-FFF2-40B4-BE49-F238E27FC236}">
                <a16:creationId xmlns:a16="http://schemas.microsoft.com/office/drawing/2014/main" id="{A6AA4749-61B2-63A3-82D8-182FAD3CB8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6535" y="5010151"/>
            <a:ext cx="3449872" cy="1851438"/>
          </a:xfrm>
          <a:prstGeom prst="rect">
            <a:avLst/>
          </a:prstGeom>
        </p:spPr>
      </p:pic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9AA06CCA-86AE-0B8A-BC6C-745E41B4A45B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5397535" y="0"/>
            <a:ext cx="6794466" cy="6858000"/>
          </a:xfrm>
          <a:custGeom>
            <a:avLst/>
            <a:gdLst>
              <a:gd name="connsiteX0" fmla="*/ 0 w 2716213"/>
              <a:gd name="connsiteY0" fmla="*/ 0 h 2741612"/>
              <a:gd name="connsiteX1" fmla="*/ 2716213 w 2716213"/>
              <a:gd name="connsiteY1" fmla="*/ 0 h 2741612"/>
              <a:gd name="connsiteX2" fmla="*/ 2716213 w 2716213"/>
              <a:gd name="connsiteY2" fmla="*/ 2741612 h 2741612"/>
              <a:gd name="connsiteX3" fmla="*/ 1821386 w 2716213"/>
              <a:gd name="connsiteY3" fmla="*/ 2741612 h 2741612"/>
              <a:gd name="connsiteX4" fmla="*/ 1808693 w 2716213"/>
              <a:gd name="connsiteY4" fmla="*/ 2468720 h 2741612"/>
              <a:gd name="connsiteX5" fmla="*/ 1707153 w 2716213"/>
              <a:gd name="connsiteY5" fmla="*/ 2221214 h 2741612"/>
              <a:gd name="connsiteX6" fmla="*/ 1497725 w 2716213"/>
              <a:gd name="connsiteY6" fmla="*/ 2062556 h 2741612"/>
              <a:gd name="connsiteX7" fmla="*/ 1237527 w 2716213"/>
              <a:gd name="connsiteY7" fmla="*/ 2030824 h 2741612"/>
              <a:gd name="connsiteX8" fmla="*/ 1104255 w 2716213"/>
              <a:gd name="connsiteY8" fmla="*/ 2062556 h 2741612"/>
              <a:gd name="connsiteX9" fmla="*/ 990022 w 2716213"/>
              <a:gd name="connsiteY9" fmla="*/ 2132365 h 2741612"/>
              <a:gd name="connsiteX10" fmla="*/ 742516 w 2716213"/>
              <a:gd name="connsiteY10" fmla="*/ 2233906 h 2741612"/>
              <a:gd name="connsiteX11" fmla="*/ 482318 w 2716213"/>
              <a:gd name="connsiteY11" fmla="*/ 2195828 h 2741612"/>
              <a:gd name="connsiteX12" fmla="*/ 272891 w 2716213"/>
              <a:gd name="connsiteY12" fmla="*/ 2037170 h 2741612"/>
              <a:gd name="connsiteX13" fmla="*/ 171350 w 2716213"/>
              <a:gd name="connsiteY13" fmla="*/ 1789664 h 2741612"/>
              <a:gd name="connsiteX14" fmla="*/ 203082 w 2716213"/>
              <a:gd name="connsiteY14" fmla="*/ 1529464 h 2741612"/>
              <a:gd name="connsiteX15" fmla="*/ 368085 w 2716213"/>
              <a:gd name="connsiteY15" fmla="*/ 1320036 h 2741612"/>
              <a:gd name="connsiteX16" fmla="*/ 526742 w 2716213"/>
              <a:gd name="connsiteY16" fmla="*/ 1104261 h 2741612"/>
              <a:gd name="connsiteX17" fmla="*/ 558474 w 2716213"/>
              <a:gd name="connsiteY17" fmla="*/ 844061 h 2741612"/>
              <a:gd name="connsiteX18" fmla="*/ 456933 w 2716213"/>
              <a:gd name="connsiteY18" fmla="*/ 596555 h 2741612"/>
              <a:gd name="connsiteX19" fmla="*/ 0 w 2716213"/>
              <a:gd name="connsiteY19" fmla="*/ 0 h 2741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716213" h="2741612">
                <a:moveTo>
                  <a:pt x="0" y="0"/>
                </a:moveTo>
                <a:lnTo>
                  <a:pt x="2716213" y="0"/>
                </a:lnTo>
                <a:cubicBezTo>
                  <a:pt x="2716213" y="2741612"/>
                  <a:pt x="2716213" y="2741612"/>
                  <a:pt x="2716213" y="2741612"/>
                </a:cubicBezTo>
                <a:cubicBezTo>
                  <a:pt x="1821386" y="2741612"/>
                  <a:pt x="1821386" y="2741612"/>
                  <a:pt x="1821386" y="2741612"/>
                </a:cubicBezTo>
                <a:cubicBezTo>
                  <a:pt x="1827732" y="2652764"/>
                  <a:pt x="1821386" y="2557569"/>
                  <a:pt x="1808693" y="2468720"/>
                </a:cubicBezTo>
                <a:cubicBezTo>
                  <a:pt x="1796001" y="2373525"/>
                  <a:pt x="1764269" y="2291023"/>
                  <a:pt x="1707153" y="2221214"/>
                </a:cubicBezTo>
                <a:cubicBezTo>
                  <a:pt x="1656382" y="2151404"/>
                  <a:pt x="1580227" y="2094287"/>
                  <a:pt x="1497725" y="2062556"/>
                </a:cubicBezTo>
                <a:cubicBezTo>
                  <a:pt x="1415223" y="2030824"/>
                  <a:pt x="1326375" y="2018131"/>
                  <a:pt x="1237527" y="2030824"/>
                </a:cubicBezTo>
                <a:cubicBezTo>
                  <a:pt x="1186757" y="2037170"/>
                  <a:pt x="1142333" y="2043517"/>
                  <a:pt x="1104255" y="2062556"/>
                </a:cubicBezTo>
                <a:cubicBezTo>
                  <a:pt x="1059831" y="2081594"/>
                  <a:pt x="1021753" y="2100633"/>
                  <a:pt x="990022" y="2132365"/>
                </a:cubicBezTo>
                <a:cubicBezTo>
                  <a:pt x="920213" y="2183136"/>
                  <a:pt x="837711" y="2221214"/>
                  <a:pt x="742516" y="2233906"/>
                </a:cubicBezTo>
                <a:cubicBezTo>
                  <a:pt x="653668" y="2246599"/>
                  <a:pt x="564820" y="2227560"/>
                  <a:pt x="482318" y="2195828"/>
                </a:cubicBezTo>
                <a:cubicBezTo>
                  <a:pt x="399817" y="2164097"/>
                  <a:pt x="323661" y="2106980"/>
                  <a:pt x="272891" y="2037170"/>
                </a:cubicBezTo>
                <a:cubicBezTo>
                  <a:pt x="215774" y="1967361"/>
                  <a:pt x="184043" y="1884858"/>
                  <a:pt x="171350" y="1789664"/>
                </a:cubicBezTo>
                <a:cubicBezTo>
                  <a:pt x="158658" y="1700815"/>
                  <a:pt x="171350" y="1605620"/>
                  <a:pt x="203082" y="1529464"/>
                </a:cubicBezTo>
                <a:cubicBezTo>
                  <a:pt x="241159" y="1446962"/>
                  <a:pt x="291930" y="1370806"/>
                  <a:pt x="368085" y="1320036"/>
                </a:cubicBezTo>
                <a:cubicBezTo>
                  <a:pt x="437894" y="1262919"/>
                  <a:pt x="495011" y="1193109"/>
                  <a:pt x="526742" y="1104261"/>
                </a:cubicBezTo>
                <a:cubicBezTo>
                  <a:pt x="558474" y="1028105"/>
                  <a:pt x="571167" y="939256"/>
                  <a:pt x="558474" y="844061"/>
                </a:cubicBezTo>
                <a:cubicBezTo>
                  <a:pt x="552128" y="748866"/>
                  <a:pt x="514050" y="666364"/>
                  <a:pt x="456933" y="596555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</p:spPr>
        <p:txBody>
          <a:bodyPr wrap="square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09600"/>
            <a:ext cx="4578419" cy="809834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60442"/>
            <a:ext cx="4826896" cy="4140000"/>
          </a:xfrm>
        </p:spPr>
        <p:txBody>
          <a:bodyPr>
            <a:normAutofit/>
          </a:bodyPr>
          <a:lstStyle>
            <a:lvl1pPr marL="457200" indent="-457200">
              <a:spcBef>
                <a:spcPts val="1100"/>
              </a:spcBef>
              <a:buFont typeface="+mj-lt"/>
              <a:buAutoNum type="arabicPeriod"/>
              <a:defRPr b="0"/>
            </a:lvl1pPr>
            <a:lvl2pPr marL="432000" indent="-216000">
              <a:spcBef>
                <a:spcPts val="500"/>
              </a:spcBef>
              <a:buSzPct val="130000"/>
              <a:buFont typeface="Arial" panose="020B0604020202020204" pitchFamily="34" charset="0"/>
              <a:buChar char="•"/>
              <a:defRPr>
                <a:solidFill>
                  <a:srgbClr val="0460A9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44DA9E3-0DF9-BF88-D9B1-4721AAF2509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2191999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colorful circle with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275B0DD2-2428-54C9-49A8-458F94960B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6601" y="0"/>
            <a:ext cx="25653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D45A4A-BEAF-8F80-8835-0907262E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09600"/>
            <a:ext cx="7364412" cy="809834"/>
          </a:xfrm>
        </p:spPr>
        <p:txBody>
          <a:bodyPr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68F2A-23FD-5801-ACBB-432CB93397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839" y="1560443"/>
            <a:ext cx="7364412" cy="4140000"/>
          </a:xfrm>
        </p:spPr>
        <p:txBody>
          <a:bodyPr>
            <a:normAutofit/>
          </a:bodyPr>
          <a:lstStyle>
            <a:lvl1pPr marL="457200" indent="-457200">
              <a:spcBef>
                <a:spcPts val="1100"/>
              </a:spcBef>
              <a:buFont typeface="+mj-lt"/>
              <a:buAutoNum type="arabicPeriod"/>
              <a:defRPr b="0"/>
            </a:lvl1pPr>
            <a:lvl2pPr marL="432000" indent="-216000">
              <a:spcBef>
                <a:spcPts val="500"/>
              </a:spcBef>
              <a:buSzPct val="130000"/>
              <a:buFont typeface="Arial" panose="020B0604020202020204" pitchFamily="34" charset="0"/>
              <a:buChar char="•"/>
              <a:defRPr>
                <a:solidFill>
                  <a:srgbClr val="0460A9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E74A7-6AA6-6A4A-386F-857155357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2575B-FB3C-51E6-D7BC-6C7FF452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‹#›</a:t>
            </a:fld>
            <a:endParaRPr lang="en-GB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8FA9A013-00C4-2F39-D19D-0771AAF80A3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85" y="6132510"/>
            <a:ext cx="3438000" cy="6409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247413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slideLayout" Target="../slideLayouts/slideLayout40.xml"/><Relationship Id="rId39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35.xml"/><Relationship Id="rId34" Type="http://schemas.openxmlformats.org/officeDocument/2006/relationships/slideLayout" Target="../slideLayouts/slideLayout48.xml"/><Relationship Id="rId42" Type="http://schemas.openxmlformats.org/officeDocument/2006/relationships/slideLayout" Target="../slideLayouts/slideLayout56.xml"/><Relationship Id="rId47" Type="http://schemas.openxmlformats.org/officeDocument/2006/relationships/slideLayout" Target="../slideLayouts/slideLayout61.xml"/><Relationship Id="rId50" Type="http://schemas.openxmlformats.org/officeDocument/2006/relationships/slideLayout" Target="../slideLayouts/slideLayout64.xml"/><Relationship Id="rId55" Type="http://schemas.openxmlformats.org/officeDocument/2006/relationships/slideLayout" Target="../slideLayouts/slideLayout69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9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38.xml"/><Relationship Id="rId32" Type="http://schemas.openxmlformats.org/officeDocument/2006/relationships/slideLayout" Target="../slideLayouts/slideLayout46.xml"/><Relationship Id="rId37" Type="http://schemas.openxmlformats.org/officeDocument/2006/relationships/slideLayout" Target="../slideLayouts/slideLayout51.xml"/><Relationship Id="rId40" Type="http://schemas.openxmlformats.org/officeDocument/2006/relationships/slideLayout" Target="../slideLayouts/slideLayout54.xml"/><Relationship Id="rId45" Type="http://schemas.openxmlformats.org/officeDocument/2006/relationships/slideLayout" Target="../slideLayouts/slideLayout59.xml"/><Relationship Id="rId53" Type="http://schemas.openxmlformats.org/officeDocument/2006/relationships/slideLayout" Target="../slideLayouts/slideLayout67.xml"/><Relationship Id="rId58" Type="http://schemas.openxmlformats.org/officeDocument/2006/relationships/theme" Target="../theme/theme2.xml"/><Relationship Id="rId5" Type="http://schemas.openxmlformats.org/officeDocument/2006/relationships/slideLayout" Target="../slideLayouts/slideLayout19.xml"/><Relationship Id="rId19" Type="http://schemas.openxmlformats.org/officeDocument/2006/relationships/slideLayout" Target="../slideLayouts/slideLayout3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Relationship Id="rId27" Type="http://schemas.openxmlformats.org/officeDocument/2006/relationships/slideLayout" Target="../slideLayouts/slideLayout41.xml"/><Relationship Id="rId30" Type="http://schemas.openxmlformats.org/officeDocument/2006/relationships/slideLayout" Target="../slideLayouts/slideLayout44.xml"/><Relationship Id="rId35" Type="http://schemas.openxmlformats.org/officeDocument/2006/relationships/slideLayout" Target="../slideLayouts/slideLayout49.xml"/><Relationship Id="rId43" Type="http://schemas.openxmlformats.org/officeDocument/2006/relationships/slideLayout" Target="../slideLayouts/slideLayout57.xml"/><Relationship Id="rId48" Type="http://schemas.openxmlformats.org/officeDocument/2006/relationships/slideLayout" Target="../slideLayouts/slideLayout62.xml"/><Relationship Id="rId56" Type="http://schemas.openxmlformats.org/officeDocument/2006/relationships/slideLayout" Target="../slideLayouts/slideLayout70.xml"/><Relationship Id="rId8" Type="http://schemas.openxmlformats.org/officeDocument/2006/relationships/slideLayout" Target="../slideLayouts/slideLayout22.xml"/><Relationship Id="rId51" Type="http://schemas.openxmlformats.org/officeDocument/2006/relationships/slideLayout" Target="../slideLayouts/slideLayout65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slideLayout" Target="../slideLayouts/slideLayout39.xml"/><Relationship Id="rId33" Type="http://schemas.openxmlformats.org/officeDocument/2006/relationships/slideLayout" Target="../slideLayouts/slideLayout47.xml"/><Relationship Id="rId38" Type="http://schemas.openxmlformats.org/officeDocument/2006/relationships/slideLayout" Target="../slideLayouts/slideLayout52.xml"/><Relationship Id="rId4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34.xml"/><Relationship Id="rId41" Type="http://schemas.openxmlformats.org/officeDocument/2006/relationships/slideLayout" Target="../slideLayouts/slideLayout55.xml"/><Relationship Id="rId54" Type="http://schemas.openxmlformats.org/officeDocument/2006/relationships/slideLayout" Target="../slideLayouts/slideLayout68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37.xml"/><Relationship Id="rId28" Type="http://schemas.openxmlformats.org/officeDocument/2006/relationships/slideLayout" Target="../slideLayouts/slideLayout42.xml"/><Relationship Id="rId36" Type="http://schemas.openxmlformats.org/officeDocument/2006/relationships/slideLayout" Target="../slideLayouts/slideLayout50.xml"/><Relationship Id="rId49" Type="http://schemas.openxmlformats.org/officeDocument/2006/relationships/slideLayout" Target="../slideLayouts/slideLayout63.xml"/><Relationship Id="rId57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24.xml"/><Relationship Id="rId31" Type="http://schemas.openxmlformats.org/officeDocument/2006/relationships/slideLayout" Target="../slideLayouts/slideLayout45.xml"/><Relationship Id="rId44" Type="http://schemas.openxmlformats.org/officeDocument/2006/relationships/slideLayout" Target="../slideLayouts/slideLayout58.xml"/><Relationship Id="rId52" Type="http://schemas.openxmlformats.org/officeDocument/2006/relationships/slideLayout" Target="../slideLayouts/slideLayout6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5.xml"/><Relationship Id="rId18" Type="http://schemas.openxmlformats.org/officeDocument/2006/relationships/slideLayout" Target="../slideLayouts/slideLayout100.xml"/><Relationship Id="rId26" Type="http://schemas.openxmlformats.org/officeDocument/2006/relationships/slideLayout" Target="../slideLayouts/slideLayout108.xml"/><Relationship Id="rId39" Type="http://schemas.openxmlformats.org/officeDocument/2006/relationships/slideLayout" Target="../slideLayouts/slideLayout121.xml"/><Relationship Id="rId21" Type="http://schemas.openxmlformats.org/officeDocument/2006/relationships/slideLayout" Target="../slideLayouts/slideLayout103.xml"/><Relationship Id="rId34" Type="http://schemas.openxmlformats.org/officeDocument/2006/relationships/slideLayout" Target="../slideLayouts/slideLayout116.xml"/><Relationship Id="rId42" Type="http://schemas.openxmlformats.org/officeDocument/2006/relationships/slideLayout" Target="../slideLayouts/slideLayout124.xml"/><Relationship Id="rId47" Type="http://schemas.openxmlformats.org/officeDocument/2006/relationships/slideLayout" Target="../slideLayouts/slideLayout129.xml"/><Relationship Id="rId50" Type="http://schemas.openxmlformats.org/officeDocument/2006/relationships/slideLayout" Target="../slideLayouts/slideLayout132.xml"/><Relationship Id="rId55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89.xml"/><Relationship Id="rId2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98.xml"/><Relationship Id="rId29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93.xml"/><Relationship Id="rId24" Type="http://schemas.openxmlformats.org/officeDocument/2006/relationships/slideLayout" Target="../slideLayouts/slideLayout106.xml"/><Relationship Id="rId32" Type="http://schemas.openxmlformats.org/officeDocument/2006/relationships/slideLayout" Target="../slideLayouts/slideLayout114.xml"/><Relationship Id="rId37" Type="http://schemas.openxmlformats.org/officeDocument/2006/relationships/slideLayout" Target="../slideLayouts/slideLayout119.xml"/><Relationship Id="rId40" Type="http://schemas.openxmlformats.org/officeDocument/2006/relationships/slideLayout" Target="../slideLayouts/slideLayout122.xml"/><Relationship Id="rId45" Type="http://schemas.openxmlformats.org/officeDocument/2006/relationships/slideLayout" Target="../slideLayouts/slideLayout127.xml"/><Relationship Id="rId53" Type="http://schemas.openxmlformats.org/officeDocument/2006/relationships/slideLayout" Target="../slideLayouts/slideLayout135.xml"/><Relationship Id="rId58" Type="http://schemas.openxmlformats.org/officeDocument/2006/relationships/slideLayout" Target="../slideLayouts/slideLayout140.xml"/><Relationship Id="rId5" Type="http://schemas.openxmlformats.org/officeDocument/2006/relationships/slideLayout" Target="../slideLayouts/slideLayout87.xml"/><Relationship Id="rId61" Type="http://schemas.openxmlformats.org/officeDocument/2006/relationships/slideLayout" Target="../slideLayouts/slideLayout143.xml"/><Relationship Id="rId19" Type="http://schemas.openxmlformats.org/officeDocument/2006/relationships/slideLayout" Target="../slideLayouts/slideLayout101.xml"/><Relationship Id="rId14" Type="http://schemas.openxmlformats.org/officeDocument/2006/relationships/slideLayout" Target="../slideLayouts/slideLayout96.xml"/><Relationship Id="rId22" Type="http://schemas.openxmlformats.org/officeDocument/2006/relationships/slideLayout" Target="../slideLayouts/slideLayout104.xml"/><Relationship Id="rId27" Type="http://schemas.openxmlformats.org/officeDocument/2006/relationships/slideLayout" Target="../slideLayouts/slideLayout109.xml"/><Relationship Id="rId30" Type="http://schemas.openxmlformats.org/officeDocument/2006/relationships/slideLayout" Target="../slideLayouts/slideLayout112.xml"/><Relationship Id="rId35" Type="http://schemas.openxmlformats.org/officeDocument/2006/relationships/slideLayout" Target="../slideLayouts/slideLayout117.xml"/><Relationship Id="rId43" Type="http://schemas.openxmlformats.org/officeDocument/2006/relationships/slideLayout" Target="../slideLayouts/slideLayout125.xml"/><Relationship Id="rId48" Type="http://schemas.openxmlformats.org/officeDocument/2006/relationships/slideLayout" Target="../slideLayouts/slideLayout130.xml"/><Relationship Id="rId56" Type="http://schemas.openxmlformats.org/officeDocument/2006/relationships/slideLayout" Target="../slideLayouts/slideLayout138.xml"/><Relationship Id="rId8" Type="http://schemas.openxmlformats.org/officeDocument/2006/relationships/slideLayout" Target="../slideLayouts/slideLayout90.xml"/><Relationship Id="rId51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4.xml"/><Relationship Id="rId17" Type="http://schemas.openxmlformats.org/officeDocument/2006/relationships/slideLayout" Target="../slideLayouts/slideLayout99.xml"/><Relationship Id="rId25" Type="http://schemas.openxmlformats.org/officeDocument/2006/relationships/slideLayout" Target="../slideLayouts/slideLayout107.xml"/><Relationship Id="rId33" Type="http://schemas.openxmlformats.org/officeDocument/2006/relationships/slideLayout" Target="../slideLayouts/slideLayout115.xml"/><Relationship Id="rId38" Type="http://schemas.openxmlformats.org/officeDocument/2006/relationships/slideLayout" Target="../slideLayouts/slideLayout120.xml"/><Relationship Id="rId46" Type="http://schemas.openxmlformats.org/officeDocument/2006/relationships/slideLayout" Target="../slideLayouts/slideLayout128.xml"/><Relationship Id="rId59" Type="http://schemas.openxmlformats.org/officeDocument/2006/relationships/slideLayout" Target="../slideLayouts/slideLayout141.xml"/><Relationship Id="rId20" Type="http://schemas.openxmlformats.org/officeDocument/2006/relationships/slideLayout" Target="../slideLayouts/slideLayout102.xml"/><Relationship Id="rId41" Type="http://schemas.openxmlformats.org/officeDocument/2006/relationships/slideLayout" Target="../slideLayouts/slideLayout123.xml"/><Relationship Id="rId54" Type="http://schemas.openxmlformats.org/officeDocument/2006/relationships/slideLayout" Target="../slideLayouts/slideLayout136.xml"/><Relationship Id="rId62" Type="http://schemas.openxmlformats.org/officeDocument/2006/relationships/theme" Target="../theme/theme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7.xml"/><Relationship Id="rId23" Type="http://schemas.openxmlformats.org/officeDocument/2006/relationships/slideLayout" Target="../slideLayouts/slideLayout105.xml"/><Relationship Id="rId28" Type="http://schemas.openxmlformats.org/officeDocument/2006/relationships/slideLayout" Target="../slideLayouts/slideLayout110.xml"/><Relationship Id="rId36" Type="http://schemas.openxmlformats.org/officeDocument/2006/relationships/slideLayout" Target="../slideLayouts/slideLayout118.xml"/><Relationship Id="rId49" Type="http://schemas.openxmlformats.org/officeDocument/2006/relationships/slideLayout" Target="../slideLayouts/slideLayout131.xml"/><Relationship Id="rId57" Type="http://schemas.openxmlformats.org/officeDocument/2006/relationships/slideLayout" Target="../slideLayouts/slideLayout139.xml"/><Relationship Id="rId10" Type="http://schemas.openxmlformats.org/officeDocument/2006/relationships/slideLayout" Target="../slideLayouts/slideLayout92.xml"/><Relationship Id="rId31" Type="http://schemas.openxmlformats.org/officeDocument/2006/relationships/slideLayout" Target="../slideLayouts/slideLayout113.xml"/><Relationship Id="rId44" Type="http://schemas.openxmlformats.org/officeDocument/2006/relationships/slideLayout" Target="../slideLayouts/slideLayout126.xml"/><Relationship Id="rId52" Type="http://schemas.openxmlformats.org/officeDocument/2006/relationships/slideLayout" Target="../slideLayouts/slideLayout134.xml"/><Relationship Id="rId60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BBAFD17-E0DE-D9B1-D4E8-D6D3E9A8E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790559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15" imgH="416" progId="TCLayout.ActiveDocument.1">
                  <p:embed/>
                </p:oleObj>
              </mc:Choice>
              <mc:Fallback>
                <p:oleObj name="think-cell Slide" r:id="rId17" imgW="415" imgH="41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BAFD17-E0DE-D9B1-D4E8-D6D3E9A8E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7A96AB-8025-800A-2C24-7E888FEFF7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11168062" cy="1065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4E3102-B1BD-6F42-D23F-9839C4945A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4838" y="1573619"/>
            <a:ext cx="11168062" cy="44779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60478D-6D5E-92AA-A8E5-4B2E1DDB45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GB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B61785-315A-7A76-7C7E-594293B97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 b="1"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4647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000" b="1" kern="1200">
          <a:solidFill>
            <a:srgbClr val="002068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1000"/>
        </a:spcBef>
        <a:buFontTx/>
        <a:buNone/>
        <a:defRPr sz="2000" b="1" kern="1200">
          <a:solidFill>
            <a:srgbClr val="0460A9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7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Ping LCG Medium" pitchFamily="50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90538" indent="-268288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73113" indent="-277813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2">
          <p15:clr>
            <a:srgbClr val="F26B43"/>
          </p15:clr>
        </p15:guide>
        <p15:guide id="2" pos="3975">
          <p15:clr>
            <a:srgbClr val="F26B43"/>
          </p15:clr>
        </p15:guide>
        <p15:guide id="3" orient="horz" pos="243">
          <p15:clr>
            <a:srgbClr val="F26B43"/>
          </p15:clr>
        </p15:guide>
        <p15:guide id="4" orient="horz" pos="3812">
          <p15:clr>
            <a:srgbClr val="F26B43"/>
          </p15:clr>
        </p15:guide>
        <p15:guide id="5" orient="horz" pos="867">
          <p15:clr>
            <a:srgbClr val="F26B43"/>
          </p15:clr>
        </p15:guide>
        <p15:guide id="6" orient="horz" pos="1015">
          <p15:clr>
            <a:srgbClr val="F26B43"/>
          </p15:clr>
        </p15:guide>
        <p15:guide id="7" orient="horz" pos="1639">
          <p15:clr>
            <a:srgbClr val="F26B43"/>
          </p15:clr>
        </p15:guide>
        <p15:guide id="8" orient="horz" pos="1781">
          <p15:clr>
            <a:srgbClr val="F26B43"/>
          </p15:clr>
        </p15:guide>
        <p15:guide id="9" orient="horz" pos="2544">
          <p15:clr>
            <a:srgbClr val="F26B43"/>
          </p15:clr>
        </p15:guide>
        <p15:guide id="10" orient="horz" pos="3174">
          <p15:clr>
            <a:srgbClr val="F26B43"/>
          </p15:clr>
        </p15:guide>
        <p15:guide id="11" orient="horz" pos="3316">
          <p15:clr>
            <a:srgbClr val="F26B43"/>
          </p15:clr>
        </p15:guide>
        <p15:guide id="12" pos="7416">
          <p15:clr>
            <a:srgbClr val="F26B43"/>
          </p15:clr>
        </p15:guide>
        <p15:guide id="13" pos="381">
          <p15:clr>
            <a:srgbClr val="F26B43"/>
          </p15:clr>
        </p15:guide>
        <p15:guide id="14" pos="1434">
          <p15:clr>
            <a:srgbClr val="F26B43"/>
          </p15:clr>
        </p15:guide>
        <p15:guide id="15" pos="1581">
          <p15:clr>
            <a:srgbClr val="F26B43"/>
          </p15:clr>
        </p15:guide>
        <p15:guide id="16" pos="2625">
          <p15:clr>
            <a:srgbClr val="F26B43"/>
          </p15:clr>
        </p15:guide>
        <p15:guide id="17" pos="2776">
          <p15:clr>
            <a:srgbClr val="F26B43"/>
          </p15:clr>
        </p15:guide>
        <p15:guide id="18" pos="3824">
          <p15:clr>
            <a:srgbClr val="F26B43"/>
          </p15:clr>
        </p15:guide>
        <p15:guide id="19" pos="5020">
          <p15:clr>
            <a:srgbClr val="F26B43"/>
          </p15:clr>
        </p15:guide>
        <p15:guide id="20" pos="5166">
          <p15:clr>
            <a:srgbClr val="F26B43"/>
          </p15:clr>
        </p15:guide>
        <p15:guide id="21" pos="6219">
          <p15:clr>
            <a:srgbClr val="F26B43"/>
          </p15:clr>
        </p15:guide>
        <p15:guide id="22" pos="63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7A96AB-8025-800A-2C24-7E888FEFF7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11168062" cy="1065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4E3102-B1BD-6F42-D23F-9839C4945A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4838" y="1573619"/>
            <a:ext cx="11168062" cy="44779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60478D-6D5E-92AA-A8E5-4B2E1DDB45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B61785-315A-7A76-7C7E-594293B97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 b="1"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1242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  <p:sldLayoutId id="2147483698" r:id="rId23"/>
    <p:sldLayoutId id="2147483699" r:id="rId24"/>
    <p:sldLayoutId id="2147483700" r:id="rId25"/>
    <p:sldLayoutId id="2147483701" r:id="rId26"/>
    <p:sldLayoutId id="2147483702" r:id="rId27"/>
    <p:sldLayoutId id="2147483703" r:id="rId28"/>
    <p:sldLayoutId id="2147483704" r:id="rId29"/>
    <p:sldLayoutId id="2147483705" r:id="rId30"/>
    <p:sldLayoutId id="2147483706" r:id="rId31"/>
    <p:sldLayoutId id="2147483707" r:id="rId32"/>
    <p:sldLayoutId id="2147483708" r:id="rId33"/>
    <p:sldLayoutId id="2147483709" r:id="rId34"/>
    <p:sldLayoutId id="2147483710" r:id="rId35"/>
    <p:sldLayoutId id="2147483711" r:id="rId36"/>
    <p:sldLayoutId id="2147483712" r:id="rId37"/>
    <p:sldLayoutId id="2147483713" r:id="rId38"/>
    <p:sldLayoutId id="2147483714" r:id="rId39"/>
    <p:sldLayoutId id="2147483715" r:id="rId40"/>
    <p:sldLayoutId id="2147483716" r:id="rId41"/>
    <p:sldLayoutId id="2147483717" r:id="rId42"/>
    <p:sldLayoutId id="2147483718" r:id="rId43"/>
    <p:sldLayoutId id="2147483719" r:id="rId44"/>
    <p:sldLayoutId id="2147483720" r:id="rId45"/>
    <p:sldLayoutId id="2147483721" r:id="rId46"/>
    <p:sldLayoutId id="2147483722" r:id="rId47"/>
    <p:sldLayoutId id="2147483723" r:id="rId48"/>
    <p:sldLayoutId id="2147483724" r:id="rId49"/>
    <p:sldLayoutId id="2147483725" r:id="rId50"/>
    <p:sldLayoutId id="2147483726" r:id="rId51"/>
    <p:sldLayoutId id="2147483727" r:id="rId52"/>
    <p:sldLayoutId id="2147483728" r:id="rId53"/>
    <p:sldLayoutId id="2147483729" r:id="rId54"/>
    <p:sldLayoutId id="2147483730" r:id="rId55"/>
    <p:sldLayoutId id="2147483731" r:id="rId56"/>
    <p:sldLayoutId id="2147483809" r:id="rId57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000" b="1" kern="1200">
          <a:solidFill>
            <a:srgbClr val="002068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1000"/>
        </a:spcBef>
        <a:buFontTx/>
        <a:buNone/>
        <a:defRPr sz="2000" b="1" kern="1200">
          <a:solidFill>
            <a:srgbClr val="0460A9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7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Ping LCG Medium" pitchFamily="50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90538" indent="-268288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73113" indent="-277813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2">
          <p15:clr>
            <a:srgbClr val="F26B43"/>
          </p15:clr>
        </p15:guide>
        <p15:guide id="2" pos="3975">
          <p15:clr>
            <a:srgbClr val="F26B43"/>
          </p15:clr>
        </p15:guide>
        <p15:guide id="3" orient="horz" pos="243">
          <p15:clr>
            <a:srgbClr val="F26B43"/>
          </p15:clr>
        </p15:guide>
        <p15:guide id="4" orient="horz" pos="3812">
          <p15:clr>
            <a:srgbClr val="F26B43"/>
          </p15:clr>
        </p15:guide>
        <p15:guide id="5" orient="horz" pos="867">
          <p15:clr>
            <a:srgbClr val="F26B43"/>
          </p15:clr>
        </p15:guide>
        <p15:guide id="6" orient="horz" pos="1015">
          <p15:clr>
            <a:srgbClr val="F26B43"/>
          </p15:clr>
        </p15:guide>
        <p15:guide id="7" orient="horz" pos="1639">
          <p15:clr>
            <a:srgbClr val="F26B43"/>
          </p15:clr>
        </p15:guide>
        <p15:guide id="8" orient="horz" pos="1781">
          <p15:clr>
            <a:srgbClr val="F26B43"/>
          </p15:clr>
        </p15:guide>
        <p15:guide id="9" orient="horz" pos="2544">
          <p15:clr>
            <a:srgbClr val="F26B43"/>
          </p15:clr>
        </p15:guide>
        <p15:guide id="10" orient="horz" pos="3174">
          <p15:clr>
            <a:srgbClr val="F26B43"/>
          </p15:clr>
        </p15:guide>
        <p15:guide id="11" orient="horz" pos="3316">
          <p15:clr>
            <a:srgbClr val="F26B43"/>
          </p15:clr>
        </p15:guide>
        <p15:guide id="12" pos="7416">
          <p15:clr>
            <a:srgbClr val="F26B43"/>
          </p15:clr>
        </p15:guide>
        <p15:guide id="13" pos="381">
          <p15:clr>
            <a:srgbClr val="F26B43"/>
          </p15:clr>
        </p15:guide>
        <p15:guide id="14" pos="1434">
          <p15:clr>
            <a:srgbClr val="F26B43"/>
          </p15:clr>
        </p15:guide>
        <p15:guide id="15" pos="1581">
          <p15:clr>
            <a:srgbClr val="F26B43"/>
          </p15:clr>
        </p15:guide>
        <p15:guide id="16" pos="2625">
          <p15:clr>
            <a:srgbClr val="F26B43"/>
          </p15:clr>
        </p15:guide>
        <p15:guide id="17" pos="2776">
          <p15:clr>
            <a:srgbClr val="F26B43"/>
          </p15:clr>
        </p15:guide>
        <p15:guide id="18" pos="3824">
          <p15:clr>
            <a:srgbClr val="F26B43"/>
          </p15:clr>
        </p15:guide>
        <p15:guide id="19" pos="5020">
          <p15:clr>
            <a:srgbClr val="F26B43"/>
          </p15:clr>
        </p15:guide>
        <p15:guide id="20" pos="5166">
          <p15:clr>
            <a:srgbClr val="F26B43"/>
          </p15:clr>
        </p15:guide>
        <p15:guide id="21" pos="6219">
          <p15:clr>
            <a:srgbClr val="F26B43"/>
          </p15:clr>
        </p15:guide>
        <p15:guide id="22" pos="63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B7C4BCF-5CB5-F324-40C1-F90B862364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6109D9-7909-BDFE-4FCB-D347C5E055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52A62B-E404-8101-124F-CD615A3577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1F4184E-D7AA-4D16-A981-E60E58289739}" type="datetimeFigureOut">
              <a:rPr lang="en-US" smtClean="0"/>
              <a:t>5/1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AF19E1-C5F0-3C32-611E-DB0842D71B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DEC8CA-3FEE-5D0D-93FA-2CD416E322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16FD462-EAA7-41FD-AF00-3D9972801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3020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7A96AB-8025-800A-2C24-7E888FEFF7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086"/>
            <a:ext cx="11168062" cy="1065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4E3102-B1BD-6F42-D23F-9839C4945A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4838" y="1573619"/>
            <a:ext cx="11168062" cy="44779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60478D-6D5E-92AA-A8E5-4B2E1DDB45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97850" y="6449644"/>
            <a:ext cx="2880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Insert menu &gt; Header &amp; Footer butt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B61785-315A-7A76-7C7E-594293B97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7726" y="6449644"/>
            <a:ext cx="465174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 b="1">
                <a:solidFill>
                  <a:schemeClr val="tx1"/>
                </a:solidFill>
              </a:defRPr>
            </a:lvl1pPr>
          </a:lstStyle>
          <a:p>
            <a:fld id="{03CB0E19-F4C8-4F98-96D2-CE1ECDE5997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97205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59" r:id="rId12"/>
    <p:sldLayoutId id="2147483760" r:id="rId13"/>
    <p:sldLayoutId id="2147483761" r:id="rId14"/>
    <p:sldLayoutId id="2147483762" r:id="rId15"/>
    <p:sldLayoutId id="2147483763" r:id="rId16"/>
    <p:sldLayoutId id="2147483764" r:id="rId17"/>
    <p:sldLayoutId id="2147483765" r:id="rId18"/>
    <p:sldLayoutId id="2147483766" r:id="rId19"/>
    <p:sldLayoutId id="2147483767" r:id="rId20"/>
    <p:sldLayoutId id="2147483768" r:id="rId21"/>
    <p:sldLayoutId id="2147483769" r:id="rId22"/>
    <p:sldLayoutId id="2147483770" r:id="rId23"/>
    <p:sldLayoutId id="2147483771" r:id="rId24"/>
    <p:sldLayoutId id="2147483772" r:id="rId25"/>
    <p:sldLayoutId id="2147483773" r:id="rId26"/>
    <p:sldLayoutId id="2147483774" r:id="rId27"/>
    <p:sldLayoutId id="2147483775" r:id="rId28"/>
    <p:sldLayoutId id="2147483776" r:id="rId29"/>
    <p:sldLayoutId id="2147483777" r:id="rId30"/>
    <p:sldLayoutId id="2147483778" r:id="rId31"/>
    <p:sldLayoutId id="2147483779" r:id="rId32"/>
    <p:sldLayoutId id="2147483780" r:id="rId33"/>
    <p:sldLayoutId id="2147483781" r:id="rId34"/>
    <p:sldLayoutId id="2147483782" r:id="rId35"/>
    <p:sldLayoutId id="2147483783" r:id="rId36"/>
    <p:sldLayoutId id="2147483784" r:id="rId37"/>
    <p:sldLayoutId id="2147483785" r:id="rId38"/>
    <p:sldLayoutId id="2147483786" r:id="rId39"/>
    <p:sldLayoutId id="2147483787" r:id="rId40"/>
    <p:sldLayoutId id="2147483788" r:id="rId41"/>
    <p:sldLayoutId id="2147483789" r:id="rId42"/>
    <p:sldLayoutId id="2147483790" r:id="rId43"/>
    <p:sldLayoutId id="2147483791" r:id="rId44"/>
    <p:sldLayoutId id="2147483792" r:id="rId45"/>
    <p:sldLayoutId id="2147483793" r:id="rId46"/>
    <p:sldLayoutId id="2147483794" r:id="rId47"/>
    <p:sldLayoutId id="2147483795" r:id="rId48"/>
    <p:sldLayoutId id="2147483796" r:id="rId49"/>
    <p:sldLayoutId id="2147483797" r:id="rId50"/>
    <p:sldLayoutId id="2147483798" r:id="rId51"/>
    <p:sldLayoutId id="2147483799" r:id="rId52"/>
    <p:sldLayoutId id="2147483800" r:id="rId53"/>
    <p:sldLayoutId id="2147483801" r:id="rId54"/>
    <p:sldLayoutId id="2147483802" r:id="rId55"/>
    <p:sldLayoutId id="2147483803" r:id="rId56"/>
    <p:sldLayoutId id="2147483804" r:id="rId57"/>
    <p:sldLayoutId id="2147483805" r:id="rId58"/>
    <p:sldLayoutId id="2147483806" r:id="rId59"/>
    <p:sldLayoutId id="2147483807" r:id="rId60"/>
    <p:sldLayoutId id="2147483808" r:id="rId61"/>
  </p:sldLayoutIdLst>
  <p:hf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000" b="1" kern="1200">
          <a:solidFill>
            <a:srgbClr val="002068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1000"/>
        </a:spcBef>
        <a:buFontTx/>
        <a:buNone/>
        <a:defRPr sz="2000" b="1" kern="1200">
          <a:solidFill>
            <a:srgbClr val="0460A9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7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Ping LCG Medium" pitchFamily="50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90538" indent="-268288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73113" indent="-277813" algn="l" defTabSz="914400" rtl="0" eaLnBrk="1" latinLnBrk="0" hangingPunct="1">
        <a:lnSpc>
          <a:spcPct val="95000"/>
        </a:lnSpc>
        <a:spcBef>
          <a:spcPts val="600"/>
        </a:spcBef>
        <a:buClr>
          <a:srgbClr val="0460A9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2">
          <p15:clr>
            <a:srgbClr val="F26B43"/>
          </p15:clr>
        </p15:guide>
        <p15:guide id="2" pos="3975">
          <p15:clr>
            <a:srgbClr val="F26B43"/>
          </p15:clr>
        </p15:guide>
        <p15:guide id="3" orient="horz" pos="243">
          <p15:clr>
            <a:srgbClr val="F26B43"/>
          </p15:clr>
        </p15:guide>
        <p15:guide id="4" orient="horz" pos="3812">
          <p15:clr>
            <a:srgbClr val="F26B43"/>
          </p15:clr>
        </p15:guide>
        <p15:guide id="5" orient="horz" pos="867">
          <p15:clr>
            <a:srgbClr val="F26B43"/>
          </p15:clr>
        </p15:guide>
        <p15:guide id="6" orient="horz" pos="1015">
          <p15:clr>
            <a:srgbClr val="F26B43"/>
          </p15:clr>
        </p15:guide>
        <p15:guide id="7" orient="horz" pos="1639">
          <p15:clr>
            <a:srgbClr val="F26B43"/>
          </p15:clr>
        </p15:guide>
        <p15:guide id="8" orient="horz" pos="1781">
          <p15:clr>
            <a:srgbClr val="F26B43"/>
          </p15:clr>
        </p15:guide>
        <p15:guide id="9" orient="horz" pos="2544">
          <p15:clr>
            <a:srgbClr val="F26B43"/>
          </p15:clr>
        </p15:guide>
        <p15:guide id="10" orient="horz" pos="3174">
          <p15:clr>
            <a:srgbClr val="F26B43"/>
          </p15:clr>
        </p15:guide>
        <p15:guide id="11" orient="horz" pos="3316">
          <p15:clr>
            <a:srgbClr val="F26B43"/>
          </p15:clr>
        </p15:guide>
        <p15:guide id="12" pos="7416">
          <p15:clr>
            <a:srgbClr val="F26B43"/>
          </p15:clr>
        </p15:guide>
        <p15:guide id="13" pos="381">
          <p15:clr>
            <a:srgbClr val="F26B43"/>
          </p15:clr>
        </p15:guide>
        <p15:guide id="14" pos="1434">
          <p15:clr>
            <a:srgbClr val="F26B43"/>
          </p15:clr>
        </p15:guide>
        <p15:guide id="15" pos="1581">
          <p15:clr>
            <a:srgbClr val="F26B43"/>
          </p15:clr>
        </p15:guide>
        <p15:guide id="16" pos="2625">
          <p15:clr>
            <a:srgbClr val="F26B43"/>
          </p15:clr>
        </p15:guide>
        <p15:guide id="17" pos="2776">
          <p15:clr>
            <a:srgbClr val="F26B43"/>
          </p15:clr>
        </p15:guide>
        <p15:guide id="18" pos="3824">
          <p15:clr>
            <a:srgbClr val="F26B43"/>
          </p15:clr>
        </p15:guide>
        <p15:guide id="19" pos="5020">
          <p15:clr>
            <a:srgbClr val="F26B43"/>
          </p15:clr>
        </p15:guide>
        <p15:guide id="20" pos="5166">
          <p15:clr>
            <a:srgbClr val="F26B43"/>
          </p15:clr>
        </p15:guide>
        <p15:guide id="21" pos="6219">
          <p15:clr>
            <a:srgbClr val="F26B43"/>
          </p15:clr>
        </p15:guide>
        <p15:guide id="22" pos="63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04.xml"/><Relationship Id="rId1" Type="http://schemas.openxmlformats.org/officeDocument/2006/relationships/tags" Target="../tags/tag2.xml"/><Relationship Id="rId5" Type="http://schemas.openxmlformats.org/officeDocument/2006/relationships/image" Target="../media/image34.emf"/><Relationship Id="rId4" Type="http://schemas.openxmlformats.org/officeDocument/2006/relationships/oleObject" Target="../embeddings/oleObject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mailto:Ap-followup.ca@novartis.com" TargetMode="External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3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novartiscorp.service-now.com/onenovartisservices?id=compass_all_services&amp;service=all-services&amp;sys_id=04c7d064db3fb300695d29ae859619c6&amp;catalog_id=-1" TargetMode="External"/><Relationship Id="rId1" Type="http://schemas.openxmlformats.org/officeDocument/2006/relationships/slideLayout" Target="../slideLayouts/slideLayout10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04.xml"/><Relationship Id="rId4" Type="http://schemas.openxmlformats.org/officeDocument/2006/relationships/image" Target="../media/image38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66.xml"/><Relationship Id="rId4" Type="http://schemas.openxmlformats.org/officeDocument/2006/relationships/image" Target="../media/image42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0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DBC72-E78F-35B6-A3B0-0097289967B1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6096000" y="1810543"/>
            <a:ext cx="5814479" cy="2274888"/>
          </a:xfrm>
        </p:spPr>
        <p:txBody>
          <a:bodyPr/>
          <a:lstStyle/>
          <a:p>
            <a:pPr algn="ctr"/>
            <a:r>
              <a:rPr lang="en-US" sz="4000" dirty="0">
                <a:latin typeface="Montserrat"/>
              </a:rPr>
              <a:t>Operations Support Specialists (OSS)</a:t>
            </a:r>
            <a:br>
              <a:rPr lang="en-US" sz="4000" dirty="0">
                <a:latin typeface="Montserrat"/>
              </a:rPr>
            </a:br>
            <a:r>
              <a:rPr lang="en-US" sz="4000" dirty="0">
                <a:latin typeface="Montserrat"/>
              </a:rPr>
              <a:t>Information Session</a:t>
            </a:r>
            <a:br>
              <a:rPr lang="en-US" sz="4000" dirty="0">
                <a:latin typeface="Montserrat"/>
              </a:rPr>
            </a:br>
            <a:br>
              <a:rPr lang="en-US" sz="4000" dirty="0">
                <a:latin typeface="Montserrat"/>
              </a:rPr>
            </a:br>
            <a:r>
              <a:rPr lang="en-US" sz="2800" dirty="0">
                <a:solidFill>
                  <a:schemeClr val="tx1"/>
                </a:solidFill>
                <a:latin typeface="Montserrat"/>
              </a:rPr>
              <a:t>May 14</a:t>
            </a:r>
            <a:r>
              <a:rPr lang="en-US" sz="2800" baseline="30000" dirty="0">
                <a:solidFill>
                  <a:schemeClr val="tx1"/>
                </a:solidFill>
                <a:latin typeface="Montserrat"/>
              </a:rPr>
              <a:t>th</a:t>
            </a:r>
            <a:r>
              <a:rPr lang="en-US" sz="2800" dirty="0">
                <a:solidFill>
                  <a:schemeClr val="tx1"/>
                </a:solidFill>
                <a:latin typeface="Montserrat"/>
              </a:rPr>
              <a:t>, 2025</a:t>
            </a:r>
            <a:br>
              <a:rPr lang="en-US" sz="4000" b="1" dirty="0">
                <a:latin typeface="Montserrat" panose="00000500000000000000" pitchFamily="2" charset="0"/>
              </a:rPr>
            </a:b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26551059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C92A74D-97B5-9AD6-CEF1-110554B1B2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92A74D-97B5-9AD6-CEF1-110554B1B2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354612D8-1F1C-5982-4F17-8335DCD46D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08" y="518486"/>
            <a:ext cx="10328633" cy="780294"/>
          </a:xfrm>
        </p:spPr>
        <p:txBody>
          <a:bodyPr vert="horz">
            <a:normAutofit fontScale="90000"/>
          </a:bodyPr>
          <a:lstStyle/>
          <a:p>
            <a:r>
              <a:rPr lang="en-US"/>
              <a:t>Payment Request: </a:t>
            </a:r>
            <a:r>
              <a:rPr lang="en-US" err="1"/>
              <a:t>BeSure</a:t>
            </a:r>
            <a:r>
              <a:rPr lang="en-US"/>
              <a:t> Business Owner Responsibilit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5382B0-3D8A-79F5-0CA6-D40319A469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2251" y="1358722"/>
            <a:ext cx="11168062" cy="4980792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All business owners (BOs) are responsible for submitting, maintaining and reconciling their </a:t>
            </a:r>
            <a:r>
              <a:rPr lang="en-US" err="1"/>
              <a:t>BeSure</a:t>
            </a:r>
            <a:r>
              <a:rPr lang="en-US"/>
              <a:t> requests. </a:t>
            </a:r>
          </a:p>
          <a:p>
            <a:endParaRPr lang="en-US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BOs are required to have their requests approved prior to requesting payment processing. </a:t>
            </a:r>
          </a:p>
          <a:p>
            <a:pPr marL="833438" lvl="3" indent="-342900">
              <a:buFont typeface="Symbol" panose="05050102010706020507" pitchFamily="18" charset="2"/>
              <a:buChar char="-"/>
            </a:pPr>
            <a:r>
              <a:rPr lang="en-US"/>
              <a:t>No payment request should be submitted to OSS until your </a:t>
            </a:r>
            <a:r>
              <a:rPr lang="en-US" err="1"/>
              <a:t>BeSure</a:t>
            </a:r>
            <a:r>
              <a:rPr lang="en-US"/>
              <a:t> (if required) is fully approved.</a:t>
            </a:r>
          </a:p>
          <a:p>
            <a:pPr lvl="3" indent="0">
              <a:buNone/>
            </a:pPr>
            <a:endParaRPr lang="en-US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BOs are responsible to manually request payments when required.</a:t>
            </a:r>
          </a:p>
          <a:p>
            <a:pPr marL="833438" lvl="3" indent="-342900">
              <a:buFont typeface="Symbol" panose="05050102010706020507" pitchFamily="18" charset="2"/>
              <a:buChar char="-"/>
            </a:pPr>
            <a:r>
              <a:rPr lang="en-US"/>
              <a:t>There is NO connection between </a:t>
            </a:r>
            <a:r>
              <a:rPr lang="en-US" err="1"/>
              <a:t>BeSure</a:t>
            </a:r>
            <a:r>
              <a:rPr lang="en-US"/>
              <a:t> and OSS, and we are not advised when your requests are approved.  If a payment is required, the BO must submit proactively </a:t>
            </a:r>
            <a:r>
              <a:rPr lang="en-US" b="1"/>
              <a:t>via the OSS Hub</a:t>
            </a:r>
            <a:r>
              <a:rPr lang="en-US"/>
              <a:t>, providing all required informatio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1C8E93-904C-CC94-46C0-6430C85F58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CB0E19-F4C8-4F98-96D2-CE1ECDE59975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58434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40CEDFE8-3610-F2DB-EABF-B9885ACBD5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kern="1200">
                <a:latin typeface="+mj-lt"/>
                <a:ea typeface="+mj-ea"/>
                <a:cs typeface="+mj-cs"/>
              </a:rPr>
              <a:t>End to End Payment </a:t>
            </a:r>
            <a:r>
              <a:rPr lang="en-US"/>
              <a:t>Request P</a:t>
            </a:r>
            <a:r>
              <a:rPr lang="en-US" b="1" kern="1200">
                <a:latin typeface="+mj-lt"/>
                <a:ea typeface="+mj-ea"/>
                <a:cs typeface="+mj-cs"/>
              </a:rPr>
              <a:t>rocess</a:t>
            </a:r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5DD327-2CCD-82D5-1AE2-A2B668216CB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CB0E19-F4C8-4F98-96D2-CE1ECDE59975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5AB2974-7636-1FAB-A344-C949F0E313CE}"/>
              </a:ext>
            </a:extLst>
          </p:cNvPr>
          <p:cNvGrpSpPr/>
          <p:nvPr/>
        </p:nvGrpSpPr>
        <p:grpSpPr>
          <a:xfrm>
            <a:off x="625156" y="1841947"/>
            <a:ext cx="8347531" cy="4370401"/>
            <a:chOff x="604838" y="3691067"/>
            <a:chExt cx="10037048" cy="4370401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5F25614-F397-FC6C-4E6F-C9701F701547}"/>
                </a:ext>
              </a:extLst>
            </p:cNvPr>
            <p:cNvSpPr txBox="1"/>
            <p:nvPr/>
          </p:nvSpPr>
          <p:spPr>
            <a:xfrm>
              <a:off x="676838" y="3733838"/>
              <a:ext cx="1713631" cy="163783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rgbClr val="0460A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Business Owner submits payment request to OSS HUB. </a:t>
              </a:r>
            </a:p>
            <a:p>
              <a:pPr algn="l">
                <a:spcBef>
                  <a:spcPts val="750"/>
                </a:spcBef>
                <a:spcAft>
                  <a:spcPts val="750"/>
                </a:spcAft>
                <a:buFont typeface="Arial" panose="020B0604020202020204" pitchFamily="34" charset="0"/>
                <a:buChar char="•"/>
              </a:pPr>
              <a:r>
                <a:rPr lang="en-US" sz="1200">
                  <a:solidFill>
                    <a:srgbClr val="0460A9"/>
                  </a:solidFill>
                  <a:latin typeface="Arial" panose="020B0604020202020204"/>
                </a:rPr>
                <a:t>BO responsible for the correct supporting documents 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CB2F3CA-60A4-A7EB-F7FE-0F241847246F}"/>
                </a:ext>
              </a:extLst>
            </p:cNvPr>
            <p:cNvCxnSpPr/>
            <p:nvPr/>
          </p:nvCxnSpPr>
          <p:spPr>
            <a:xfrm>
              <a:off x="604838" y="3751445"/>
              <a:ext cx="0" cy="1526994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62BAB12-9274-66E7-D882-5C9483342CCE}"/>
                </a:ext>
              </a:extLst>
            </p:cNvPr>
            <p:cNvCxnSpPr/>
            <p:nvPr/>
          </p:nvCxnSpPr>
          <p:spPr>
            <a:xfrm>
              <a:off x="3943355" y="3751445"/>
              <a:ext cx="0" cy="1526994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49F696FC-CB45-E881-037E-B0640F5AE736}"/>
                </a:ext>
              </a:extLst>
            </p:cNvPr>
            <p:cNvGrpSpPr/>
            <p:nvPr/>
          </p:nvGrpSpPr>
          <p:grpSpPr>
            <a:xfrm>
              <a:off x="604838" y="5409685"/>
              <a:ext cx="9400086" cy="487233"/>
              <a:chOff x="604838" y="5409685"/>
              <a:chExt cx="9400086" cy="487233"/>
            </a:xfrm>
          </p:grpSpPr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48AB5B06-D05B-A413-ABBF-DFF2D5FB734A}"/>
                  </a:ext>
                </a:extLst>
              </p:cNvPr>
              <p:cNvSpPr txBox="1"/>
              <p:nvPr/>
            </p:nvSpPr>
            <p:spPr>
              <a:xfrm>
                <a:off x="604838" y="5690724"/>
                <a:ext cx="1080000" cy="2061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1</a:t>
                </a: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DA1D3FFE-DF03-F683-DAED-439438007722}"/>
                  </a:ext>
                </a:extLst>
              </p:cNvPr>
              <p:cNvSpPr/>
              <p:nvPr/>
            </p:nvSpPr>
            <p:spPr>
              <a:xfrm>
                <a:off x="604838" y="5483226"/>
                <a:ext cx="1671637" cy="72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C434EBEF-91F6-56C4-8AB2-C674E2244AF8}"/>
                  </a:ext>
                </a:extLst>
              </p:cNvPr>
              <p:cNvSpPr/>
              <p:nvPr/>
            </p:nvSpPr>
            <p:spPr>
              <a:xfrm>
                <a:off x="604838" y="5409685"/>
                <a:ext cx="72000" cy="216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55CFCA21-B6DB-69F4-3E0C-AB6D2E1BDBE0}"/>
                  </a:ext>
                </a:extLst>
              </p:cNvPr>
              <p:cNvSpPr txBox="1"/>
              <p:nvPr/>
            </p:nvSpPr>
            <p:spPr>
              <a:xfrm>
                <a:off x="2276475" y="5690724"/>
                <a:ext cx="1080000" cy="2061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002068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2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449997B9-FA27-D107-3F72-BC5E73893BDC}"/>
                  </a:ext>
                </a:extLst>
              </p:cNvPr>
              <p:cNvSpPr/>
              <p:nvPr/>
            </p:nvSpPr>
            <p:spPr>
              <a:xfrm>
                <a:off x="2276475" y="5483226"/>
                <a:ext cx="1671637" cy="72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9CE89F5-CB91-67F5-D18B-DFAC989E02E0}"/>
                  </a:ext>
                </a:extLst>
              </p:cNvPr>
              <p:cNvSpPr/>
              <p:nvPr/>
            </p:nvSpPr>
            <p:spPr>
              <a:xfrm>
                <a:off x="2276475" y="5409685"/>
                <a:ext cx="72000" cy="216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027E0CD9-3ABD-5A0C-5BC2-599C7AE39902}"/>
                  </a:ext>
                </a:extLst>
              </p:cNvPr>
              <p:cNvSpPr txBox="1"/>
              <p:nvPr/>
            </p:nvSpPr>
            <p:spPr>
              <a:xfrm>
                <a:off x="3933829" y="5690724"/>
                <a:ext cx="1080000" cy="2061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002068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3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62508216-8B7B-A10A-DABD-229BCB7FF780}"/>
                  </a:ext>
                </a:extLst>
              </p:cNvPr>
              <p:cNvSpPr/>
              <p:nvPr/>
            </p:nvSpPr>
            <p:spPr>
              <a:xfrm>
                <a:off x="3933829" y="5483226"/>
                <a:ext cx="1671637" cy="72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2260DDA-25AC-5187-72EF-4D504426B2D8}"/>
                  </a:ext>
                </a:extLst>
              </p:cNvPr>
              <p:cNvSpPr/>
              <p:nvPr/>
            </p:nvSpPr>
            <p:spPr>
              <a:xfrm>
                <a:off x="3933829" y="5409685"/>
                <a:ext cx="72000" cy="216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DACE5115-88EB-82C9-BBF7-78947FBB6E81}"/>
                  </a:ext>
                </a:extLst>
              </p:cNvPr>
              <p:cNvSpPr txBox="1"/>
              <p:nvPr/>
            </p:nvSpPr>
            <p:spPr>
              <a:xfrm>
                <a:off x="5605466" y="5690724"/>
                <a:ext cx="1080000" cy="2061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002068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4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B2A44779-ACBF-AC03-CA0A-4B9E5BD7037F}"/>
                  </a:ext>
                </a:extLst>
              </p:cNvPr>
              <p:cNvSpPr/>
              <p:nvPr/>
            </p:nvSpPr>
            <p:spPr>
              <a:xfrm>
                <a:off x="5605466" y="5483226"/>
                <a:ext cx="1671637" cy="72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3288B95A-6E8A-42FC-3017-FF821AA32B55}"/>
                  </a:ext>
                </a:extLst>
              </p:cNvPr>
              <p:cNvSpPr/>
              <p:nvPr/>
            </p:nvSpPr>
            <p:spPr>
              <a:xfrm>
                <a:off x="5605466" y="5409685"/>
                <a:ext cx="72000" cy="216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675AAAC6-7993-C62E-5302-301B843F27C5}"/>
                  </a:ext>
                </a:extLst>
              </p:cNvPr>
              <p:cNvSpPr txBox="1"/>
              <p:nvPr/>
            </p:nvSpPr>
            <p:spPr>
              <a:xfrm>
                <a:off x="7272337" y="5690724"/>
                <a:ext cx="1080000" cy="2061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002068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5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DE09E92F-A13B-AA19-59FF-B706040328B2}"/>
                  </a:ext>
                </a:extLst>
              </p:cNvPr>
              <p:cNvSpPr/>
              <p:nvPr/>
            </p:nvSpPr>
            <p:spPr>
              <a:xfrm>
                <a:off x="7272337" y="5483226"/>
                <a:ext cx="1671637" cy="72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AD319D9C-2520-4C12-E265-6CCC3274D237}"/>
                  </a:ext>
                </a:extLst>
              </p:cNvPr>
              <p:cNvSpPr/>
              <p:nvPr/>
            </p:nvSpPr>
            <p:spPr>
              <a:xfrm>
                <a:off x="7272337" y="5409685"/>
                <a:ext cx="72000" cy="216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0C6FD70B-21E1-24EA-5304-95E23A378273}"/>
                  </a:ext>
                </a:extLst>
              </p:cNvPr>
              <p:cNvSpPr txBox="1"/>
              <p:nvPr/>
            </p:nvSpPr>
            <p:spPr>
              <a:xfrm>
                <a:off x="8924924" y="5690724"/>
                <a:ext cx="1080000" cy="2061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002068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6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7AE9D206-5600-2396-5723-20D5FA751BC0}"/>
                  </a:ext>
                </a:extLst>
              </p:cNvPr>
              <p:cNvSpPr/>
              <p:nvPr/>
            </p:nvSpPr>
            <p:spPr>
              <a:xfrm>
                <a:off x="8924924" y="5409685"/>
                <a:ext cx="72000" cy="216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D35AF3F6-F05D-5342-03C8-88B4B1B7B547}"/>
                </a:ext>
              </a:extLst>
            </p:cNvPr>
            <p:cNvCxnSpPr/>
            <p:nvPr/>
          </p:nvCxnSpPr>
          <p:spPr>
            <a:xfrm>
              <a:off x="7297643" y="3741285"/>
              <a:ext cx="0" cy="1526994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CEF696A7-F67D-AF8D-944B-77437D443DC5}"/>
                </a:ext>
              </a:extLst>
            </p:cNvPr>
            <p:cNvSpPr txBox="1"/>
            <p:nvPr/>
          </p:nvSpPr>
          <p:spPr>
            <a:xfrm>
              <a:off x="4040789" y="3691067"/>
              <a:ext cx="2214581" cy="97422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rgbClr val="0460A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OSS team sends Sponsorship Agreement letter for initials via docu-sign to vendor</a:t>
              </a:r>
              <a:r>
                <a:rPr lang="en-US" sz="1200">
                  <a:solidFill>
                    <a:srgbClr val="0460A9"/>
                  </a:solidFill>
                  <a:latin typeface="Arial" panose="020B0604020202020204"/>
                </a:rPr>
                <a:t>/organization</a:t>
              </a: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0460A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9EE3DFB5-926F-0AE3-146A-9683CCEC2659}"/>
                </a:ext>
              </a:extLst>
            </p:cNvPr>
            <p:cNvSpPr txBox="1"/>
            <p:nvPr/>
          </p:nvSpPr>
          <p:spPr>
            <a:xfrm>
              <a:off x="7344336" y="3728767"/>
              <a:ext cx="1849330" cy="9996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rgbClr val="0460A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Business Owner attaches the payment request to their </a:t>
              </a:r>
              <a:r>
                <a:rPr kumimoji="0" lang="en-US" sz="1200" i="0" u="none" strike="noStrike" kern="1200" cap="none" spc="0" normalizeH="0" baseline="0" noProof="0" err="1">
                  <a:ln>
                    <a:noFill/>
                  </a:ln>
                  <a:solidFill>
                    <a:srgbClr val="0460A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BeSure</a:t>
              </a: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rgbClr val="0460A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as part of the reconciliation step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3D1A5D1A-63D9-8BA7-A588-58C4AA1027E0}"/>
                </a:ext>
              </a:extLst>
            </p:cNvPr>
            <p:cNvSpPr txBox="1"/>
            <p:nvPr/>
          </p:nvSpPr>
          <p:spPr>
            <a:xfrm>
              <a:off x="2366238" y="7034884"/>
              <a:ext cx="1513874" cy="52051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rmAutofit lnSpcReduction="10000"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rgbClr val="0460A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OSS team verifies request &amp; back up documents. 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7055C398-0EFC-3FCE-C3EB-5FE2B1FD23A1}"/>
                </a:ext>
              </a:extLst>
            </p:cNvPr>
            <p:cNvSpPr txBox="1"/>
            <p:nvPr/>
          </p:nvSpPr>
          <p:spPr>
            <a:xfrm>
              <a:off x="5737952" y="7034884"/>
              <a:ext cx="2186505" cy="8548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rgbClr val="0460A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OSS team completes payment request form and sends to account payables and Business Owner 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73E1F837-9B06-6B1D-45E5-45599AEC6D06}"/>
                </a:ext>
              </a:extLst>
            </p:cNvPr>
            <p:cNvSpPr txBox="1"/>
            <p:nvPr/>
          </p:nvSpPr>
          <p:spPr>
            <a:xfrm>
              <a:off x="9021907" y="7034884"/>
              <a:ext cx="1619979" cy="102658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rgbClr val="0460A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OSS team enters payment into OSS payment tracker for tracking purposes</a:t>
              </a:r>
            </a:p>
          </p:txBody>
        </p:sp>
      </p:grp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87D3294-F3EA-1B96-A08A-27644BBDBCEE}"/>
              </a:ext>
            </a:extLst>
          </p:cNvPr>
          <p:cNvCxnSpPr>
            <a:cxnSpLocks/>
          </p:cNvCxnSpPr>
          <p:nvPr/>
        </p:nvCxnSpPr>
        <p:spPr>
          <a:xfrm>
            <a:off x="2017078" y="4208645"/>
            <a:ext cx="0" cy="1526994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2193817-DF7A-1E81-0F35-0494D034987E}"/>
              </a:ext>
            </a:extLst>
          </p:cNvPr>
          <p:cNvCxnSpPr>
            <a:cxnSpLocks/>
          </p:cNvCxnSpPr>
          <p:nvPr/>
        </p:nvCxnSpPr>
        <p:spPr>
          <a:xfrm>
            <a:off x="4821238" y="4208645"/>
            <a:ext cx="0" cy="1526994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4C8056E-95C4-21A9-693A-58966A9A5EB1}"/>
              </a:ext>
            </a:extLst>
          </p:cNvPr>
          <p:cNvCxnSpPr>
            <a:cxnSpLocks/>
          </p:cNvCxnSpPr>
          <p:nvPr/>
        </p:nvCxnSpPr>
        <p:spPr>
          <a:xfrm>
            <a:off x="7574598" y="4178165"/>
            <a:ext cx="0" cy="1526994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41">
            <a:extLst>
              <a:ext uri="{FF2B5EF4-FFF2-40B4-BE49-F238E27FC236}">
                <a16:creationId xmlns:a16="http://schemas.microsoft.com/office/drawing/2014/main" id="{4DC69A33-9A6D-DD52-5002-A9E718BAE0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93843" y="463560"/>
            <a:ext cx="3641182" cy="2759835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TextBox 2">
            <a:extLst>
              <a:ext uri="{FF2B5EF4-FFF2-40B4-BE49-F238E27FC236}">
                <a16:creationId xmlns:a16="http://schemas.microsoft.com/office/drawing/2014/main" id="{95BF697C-CD1F-08FC-4FEE-AD17D02769FA}"/>
              </a:ext>
            </a:extLst>
          </p:cNvPr>
          <p:cNvSpPr txBox="1"/>
          <p:nvPr/>
        </p:nvSpPr>
        <p:spPr>
          <a:xfrm>
            <a:off x="7993843" y="3298955"/>
            <a:ext cx="3993747" cy="461665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/>
              <a:t>Supplier inquiries: </a:t>
            </a:r>
            <a:r>
              <a:rPr lang="en-US" sz="1200">
                <a:hlinkClick r:id="rId3" tooltip="mailto:ap-followup.ca@novartis.com"/>
              </a:rPr>
              <a:t>Ap-followup.ca@novartis.com</a:t>
            </a:r>
            <a:r>
              <a:rPr lang="en-US" sz="1200"/>
              <a:t> </a:t>
            </a:r>
          </a:p>
          <a:p>
            <a:r>
              <a:rPr lang="en-US" sz="1200"/>
              <a:t>(this link can only be used by suppliers).</a:t>
            </a:r>
          </a:p>
        </p:txBody>
      </p:sp>
    </p:spTree>
    <p:extLst>
      <p:ext uri="{BB962C8B-B14F-4D97-AF65-F5344CB8AC3E}">
        <p14:creationId xmlns:p14="http://schemas.microsoft.com/office/powerpoint/2010/main" val="38529177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21A5A9-60C8-185A-5392-55AF465AC0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CB0E19-F4C8-4F98-96D2-CE1ECDE59975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B1304CB-E19D-3938-D0B9-F792A3A1D7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8" y="311150"/>
            <a:ext cx="7364412" cy="1065213"/>
          </a:xfrm>
        </p:spPr>
        <p:txBody>
          <a:bodyPr/>
          <a:lstStyle/>
          <a:p>
            <a:r>
              <a:rPr lang="en-CA"/>
              <a:t>Payment Request Turnaround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7AB26C8-D5A6-7FC1-FA5C-0EF0DFDCCAEA}"/>
              </a:ext>
            </a:extLst>
          </p:cNvPr>
          <p:cNvSpPr txBox="1">
            <a:spLocks/>
          </p:cNvSpPr>
          <p:nvPr/>
        </p:nvSpPr>
        <p:spPr>
          <a:xfrm>
            <a:off x="560734" y="1262257"/>
            <a:ext cx="11273126" cy="369320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000"/>
              </a:spcBef>
              <a:buFontTx/>
              <a:buNone/>
              <a:defRPr sz="2000" b="1" kern="1200">
                <a:solidFill>
                  <a:srgbClr val="0460A9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7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0460A9"/>
              </a:buClr>
              <a:buFont typeface="Ping LCG Medium" pitchFamily="50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90538" indent="-268288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0460A9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3113" indent="-277813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0460A9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f a valid vendor is in place payment will be sent to AP in 1-3 business days from OSS request </a:t>
            </a:r>
            <a:r>
              <a:rPr kumimoji="0" lang="en-US" sz="2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F</a:t>
            </a:r>
            <a:r>
              <a:rPr kumimoji="0" lang="en-US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ontracting has already taken place or is not needed.  Once payment has been sent to AP, OSS will update the request status in the OSS Hub.</a:t>
            </a:r>
          </a:p>
          <a:p>
            <a:pPr marL="285750" marR="0" lvl="0" indent="-285750" algn="l" defTabSz="914400" rtl="0" eaLnBrk="1" fontAlgn="auto" latinLnBrk="0" hangingPunct="1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hen a Sponsorship letter or contract is needed, timing will be dependent on how quickly the recipient organization signs the document.  </a:t>
            </a:r>
          </a:p>
          <a:p>
            <a:pPr marL="285750" marR="0" lvl="0" indent="-285750" algn="l" defTabSz="914400" rtl="0" eaLnBrk="1" fontAlgn="auto" latinLnBrk="0" hangingPunct="1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O is always cc’d on payments &amp; should include the payment document in their </a:t>
            </a:r>
            <a:r>
              <a:rPr kumimoji="0" lang="en-US" sz="2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Sure</a:t>
            </a:r>
            <a:r>
              <a:rPr kumimoji="0" lang="en-US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request as part of their reconciliation.</a:t>
            </a:r>
          </a:p>
          <a:p>
            <a:pPr marL="285750" marR="0" lvl="0" indent="-285750" algn="l" defTabSz="914400" rtl="0" eaLnBrk="1" fontAlgn="auto" latinLnBrk="0" hangingPunct="1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yment will clear in recipient's bank account per their payment terms. </a:t>
            </a:r>
          </a:p>
          <a:p>
            <a:pPr marL="285750" marR="0" lvl="0" indent="-285750" algn="l" defTabSz="914400" rtl="0" eaLnBrk="1" fontAlgn="auto" latinLnBrk="0" hangingPunct="1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S will check periodically, and once payment has cleared, we will again update the request status in the OSS Hub and advise the BO.</a:t>
            </a:r>
          </a:p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400" b="1" i="0" u="none" strike="noStrike" kern="1200" cap="none" spc="0" normalizeH="0" baseline="0" noProof="0">
              <a:ln>
                <a:noFill/>
              </a:ln>
              <a:solidFill>
                <a:srgbClr val="0460A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7E14DC0-E340-BC77-F51A-95D40C21B4E0}"/>
              </a:ext>
            </a:extLst>
          </p:cNvPr>
          <p:cNvSpPr txBox="1"/>
          <p:nvPr/>
        </p:nvSpPr>
        <p:spPr>
          <a:xfrm>
            <a:off x="560734" y="5272577"/>
            <a:ext cx="1095313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>
                <a:effectLst/>
              </a:rPr>
              <a:t>If associates have payment inquiries, you must use our Snow ticketing system. </a:t>
            </a:r>
          </a:p>
          <a:p>
            <a:r>
              <a:rPr lang="en-US">
                <a:effectLst/>
              </a:rPr>
              <a:t>Here is the link to Snow: </a:t>
            </a:r>
            <a:r>
              <a:rPr lang="en-US">
                <a:effectLst/>
                <a:hlinkClick r:id="rId2" tooltip="https://novartiscorp.service-now.com/onenovartisservices?id=compass_all_services&amp;service=all-services&amp;sys_id=04c7d064db3fb300695d29ae859619c6&amp;catalog_id=-1"/>
              </a:rPr>
              <a:t>Procure-to-Pay Self-Service Portal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5386613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DE7E0B-00DC-09A0-AD19-13AC44360E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7" y="311086"/>
            <a:ext cx="10330893" cy="1065278"/>
          </a:xfrm>
        </p:spPr>
        <p:txBody>
          <a:bodyPr/>
          <a:lstStyle/>
          <a:p>
            <a:r>
              <a:rPr lang="en-CA"/>
              <a:t>Information needed for Payment Request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2EAC65-272C-ED8E-736D-85B07B43BD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CB0E19-F4C8-4F98-96D2-CE1ECDE59975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66F16E9-4CD5-8285-F3F5-663FB49585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988" y="1151873"/>
            <a:ext cx="3948114" cy="260315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2F8C6F2-614B-0118-9591-D972510AD6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5566" y="920638"/>
            <a:ext cx="4110039" cy="306562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5ADFD61D-C97C-D393-BD61-03A0BC820D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33800" y="4143619"/>
            <a:ext cx="4333875" cy="248602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6248229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71BD9E-8A87-6081-9561-5179DF2982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0C3DC62-BB13-277E-F99E-DD79FE6C6EC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317AEB-5A0D-C36E-6252-A6CCD12C7516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6096000" y="2539886"/>
            <a:ext cx="5814479" cy="2274888"/>
          </a:xfrm>
        </p:spPr>
        <p:txBody>
          <a:bodyPr/>
          <a:lstStyle/>
          <a:p>
            <a:pPr algn="ctr"/>
            <a:r>
              <a:rPr lang="en-US" sz="4000" dirty="0">
                <a:latin typeface="Montserrat"/>
              </a:rPr>
              <a:t>Medical</a:t>
            </a:r>
            <a:br>
              <a:rPr lang="en-US" sz="4000" dirty="0">
                <a:latin typeface="Montserrat"/>
              </a:rPr>
            </a:br>
            <a:r>
              <a:rPr lang="en-US" sz="4000" dirty="0">
                <a:latin typeface="Montserrat"/>
              </a:rPr>
              <a:t>Operations</a:t>
            </a:r>
            <a:br>
              <a:rPr lang="en-US" sz="4000" dirty="0">
                <a:latin typeface="Montserrat"/>
              </a:rPr>
            </a:br>
            <a:r>
              <a:rPr lang="en-US" sz="4000" dirty="0">
                <a:latin typeface="Montserrat"/>
              </a:rPr>
              <a:t>(3EM)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883706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689BAA-E9FE-721B-672B-05904606FD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F7F8E49-0684-5376-B4BD-3204A359FC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626351"/>
              </p:ext>
            </p:extLst>
          </p:nvPr>
        </p:nvGraphicFramePr>
        <p:xfrm>
          <a:off x="405918" y="1597875"/>
          <a:ext cx="11380165" cy="434992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34536">
                  <a:extLst>
                    <a:ext uri="{9D8B030D-6E8A-4147-A177-3AD203B41FA5}">
                      <a16:colId xmlns:a16="http://schemas.microsoft.com/office/drawing/2014/main" val="3919473635"/>
                    </a:ext>
                  </a:extLst>
                </a:gridCol>
                <a:gridCol w="8845629">
                  <a:extLst>
                    <a:ext uri="{9D8B030D-6E8A-4147-A177-3AD203B41FA5}">
                      <a16:colId xmlns:a16="http://schemas.microsoft.com/office/drawing/2014/main" val="4266662602"/>
                    </a:ext>
                  </a:extLst>
                </a:gridCol>
              </a:tblGrid>
              <a:tr h="597970">
                <a:tc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me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rapeutic Area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0396190"/>
                  </a:ext>
                </a:extLst>
              </a:tr>
              <a:tr h="53599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800" b="1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ina Riad</a:t>
                      </a:r>
                      <a:endParaRPr lang="en-US" sz="18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dical Operations Manager</a:t>
                      </a:r>
                      <a:endParaRPr lang="en-US" sz="180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62161977"/>
                  </a:ext>
                </a:extLst>
              </a:tr>
              <a:tr h="53599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b="1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andra Ercol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ordinator for Cross bord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41812819"/>
                  </a:ext>
                </a:extLst>
              </a:tr>
              <a:tr h="53599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b="1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lary Dang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ordinator for Oncology and CR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87153668"/>
                  </a:ext>
                </a:extLst>
              </a:tr>
              <a:tr h="53599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b="1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ussama Rabeh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ordinator for Portfolio and RL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06306348"/>
                  </a:ext>
                </a:extLst>
              </a:tr>
              <a:tr h="53599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b="1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mron Kau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ordinator for IH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94050498"/>
                  </a:ext>
                </a:extLst>
              </a:tr>
              <a:tr h="53599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b="1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lody Charr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ordinator for Neuroscience and Gene Therapy (GTx) and VA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37269272"/>
                  </a:ext>
                </a:extLst>
              </a:tr>
              <a:tr h="53599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b="1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d Mazh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onsorium</a:t>
                      </a:r>
                      <a:r>
                        <a:rPr lang="en-US" sz="1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nd "</a:t>
                      </a:r>
                      <a:r>
                        <a:rPr lang="en-US" sz="1800" kern="120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d.engage</a:t>
                      </a:r>
                      <a:r>
                        <a:rPr lang="en-US" sz="18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 vendor accounts monitor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60125459"/>
                  </a:ext>
                </a:extLst>
              </a:tr>
            </a:tbl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0A1FB74C-3DCB-DA09-2529-3ADACF69F21D}"/>
              </a:ext>
            </a:extLst>
          </p:cNvPr>
          <p:cNvSpPr txBox="1">
            <a:spLocks/>
          </p:cNvSpPr>
          <p:nvPr/>
        </p:nvSpPr>
        <p:spPr>
          <a:xfrm>
            <a:off x="604837" y="532597"/>
            <a:ext cx="9650207" cy="106527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000" b="1" kern="1200">
                <a:solidFill>
                  <a:srgbClr val="00206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Medical Operations (3EM) Points of Contact</a:t>
            </a:r>
            <a:endParaRPr kumimoji="0" lang="en-CA" sz="3200" b="1" i="0" u="none" strike="noStrike" kern="1200" cap="none" spc="0" normalizeH="0" baseline="0" noProof="0" dirty="0">
              <a:ln>
                <a:noFill/>
              </a:ln>
              <a:solidFill>
                <a:srgbClr val="002068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7885376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298922-124D-F72D-E8BE-C14E113A0E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68D068C-C712-097E-4435-D157CF500E43}"/>
              </a:ext>
            </a:extLst>
          </p:cNvPr>
          <p:cNvSpPr txBox="1"/>
          <p:nvPr/>
        </p:nvSpPr>
        <p:spPr>
          <a:xfrm>
            <a:off x="664028" y="315685"/>
            <a:ext cx="6248400" cy="1850572"/>
          </a:xfrm>
          <a:prstGeom prst="rect">
            <a:avLst/>
          </a:prstGeom>
          <a:noFill/>
        </p:spPr>
        <p:txBody>
          <a:bodyPr wrap="square" lIns="0" tIns="0" rIns="0" bIns="0" rtlCol="0" anchor="t">
            <a:normAutofit/>
          </a:bodyPr>
          <a:lstStyle/>
          <a:p>
            <a:pPr>
              <a:lnSpc>
                <a:spcPct val="95000"/>
              </a:lnSpc>
              <a:defRPr/>
            </a:pPr>
            <a:r>
              <a:rPr lang="fr-CA" sz="3200" b="1">
                <a:solidFill>
                  <a:srgbClr val="002068"/>
                </a:solidFill>
                <a:latin typeface="Arial" panose="020B0604020202020204"/>
              </a:rPr>
              <a:t> 3EM Launch</a:t>
            </a:r>
            <a:endParaRPr lang="en-US" sz="3200" b="1">
              <a:solidFill>
                <a:srgbClr val="002068"/>
              </a:solidFill>
              <a:latin typeface="Arial" panose="020B0604020202020204"/>
              <a:ea typeface="+mj-ea"/>
              <a:cs typeface="+mj-cs"/>
            </a:endParaRPr>
          </a:p>
        </p:txBody>
      </p:sp>
      <p:pic>
        <p:nvPicPr>
          <p:cNvPr id="3" name="Picture 2" descr="A diagram of a group of circles&#10;&#10;AI-generated content may be incorrect.">
            <a:extLst>
              <a:ext uri="{FF2B5EF4-FFF2-40B4-BE49-F238E27FC236}">
                <a16:creationId xmlns:a16="http://schemas.microsoft.com/office/drawing/2014/main" id="{0D651F45-23EE-122D-05DF-0ABF5ACA783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-56" t="-771" r="-4122"/>
          <a:stretch/>
        </p:blipFill>
        <p:spPr>
          <a:xfrm>
            <a:off x="2413382" y="239940"/>
            <a:ext cx="7391018" cy="497973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01BCBA4-A144-9C8D-5070-C42ACD97736C}"/>
              </a:ext>
            </a:extLst>
          </p:cNvPr>
          <p:cNvSpPr txBox="1"/>
          <p:nvPr/>
        </p:nvSpPr>
        <p:spPr>
          <a:xfrm>
            <a:off x="664029" y="4909457"/>
            <a:ext cx="11159217" cy="138499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 algn="l" rtl="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2068"/>
                </a:solidFill>
                <a:effectLst/>
                <a:latin typeface="Arial"/>
                <a:cs typeface="Arial"/>
              </a:rPr>
              <a:t>HIP will continue to be accessible for reconciliation.</a:t>
            </a:r>
            <a:endParaRPr lang="en-US">
              <a:cs typeface="Arial"/>
            </a:endParaRPr>
          </a:p>
          <a:p>
            <a:pPr marL="285750" indent="-285750" algn="l" rtl="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2068"/>
                </a:solidFill>
                <a:effectLst/>
                <a:latin typeface="Arial"/>
                <a:cs typeface="Arial"/>
              </a:rPr>
              <a:t>Any requests awaiting reconciliation in HIP should be finalized within 30 days after the event concludes.</a:t>
            </a:r>
          </a:p>
          <a:p>
            <a:pPr marL="285750" indent="-285750" algn="l" rtl="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2068"/>
                </a:solidFill>
                <a:effectLst/>
                <a:latin typeface="Arial"/>
                <a:cs typeface="Arial"/>
              </a:rPr>
              <a:t>There are 9 sessions open; if you did not receive an invitation and believe it's relevant to you, please use SharePoint to sign up for the session that suits you best.</a:t>
            </a:r>
          </a:p>
          <a:p>
            <a:pPr marL="285750" indent="-285750" algn="l" rtl="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2068"/>
                </a:solidFill>
                <a:effectLst/>
                <a:latin typeface="Arial"/>
                <a:cs typeface="Arial"/>
              </a:rPr>
              <a:t>Additionally, the walk-in clinic is available for you to register for any session as needed.</a:t>
            </a:r>
          </a:p>
        </p:txBody>
      </p:sp>
    </p:spTree>
    <p:extLst>
      <p:ext uri="{BB962C8B-B14F-4D97-AF65-F5344CB8AC3E}">
        <p14:creationId xmlns:p14="http://schemas.microsoft.com/office/powerpoint/2010/main" val="212484132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57AE3C5-5368-F0C9-1A4D-CBE3E6CA4872}"/>
              </a:ext>
            </a:extLst>
          </p:cNvPr>
          <p:cNvSpPr txBox="1"/>
          <p:nvPr/>
        </p:nvSpPr>
        <p:spPr>
          <a:xfrm>
            <a:off x="267086" y="148381"/>
            <a:ext cx="11455036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lnSpc>
                <a:spcPct val="95000"/>
              </a:lnSpc>
            </a:pPr>
            <a:r>
              <a:rPr lang="en-US" sz="4000" b="1">
                <a:solidFill>
                  <a:schemeClr val="accent6">
                    <a:lumMod val="75000"/>
                  </a:schemeClr>
                </a:solidFill>
                <a:cs typeface="Arial"/>
              </a:rPr>
              <a:t>go/canada3EM</a:t>
            </a:r>
            <a:endParaRPr lang="en-US" sz="4000" b="1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A686F32-C623-8AAE-386C-3A1C4BAB5A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89440" y="148381"/>
            <a:ext cx="2586275" cy="258627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ED28C09-5B97-33AF-4736-811E28FE6E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8035" y="843879"/>
            <a:ext cx="8941405" cy="413452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10CEC0A-E639-0F86-F28C-46A94163D5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954" y="4858450"/>
            <a:ext cx="8535005" cy="1999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5792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D80708-7634-F34C-4C4A-78AD01213C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1F41FC-5388-1D9C-ADB4-519129DDC54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A6F7A7-93EB-8210-E4B6-D58CE033795C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6096000" y="2700523"/>
            <a:ext cx="5814479" cy="2274888"/>
          </a:xfrm>
        </p:spPr>
        <p:txBody>
          <a:bodyPr/>
          <a:lstStyle/>
          <a:p>
            <a:pPr algn="ctr"/>
            <a:r>
              <a:rPr lang="en-US" sz="4000">
                <a:latin typeface="Montserrat"/>
              </a:rPr>
              <a:t>Questions</a:t>
            </a:r>
            <a:endParaRPr lang="en-US" sz="4000"/>
          </a:p>
        </p:txBody>
      </p:sp>
    </p:spTree>
    <p:extLst>
      <p:ext uri="{BB962C8B-B14F-4D97-AF65-F5344CB8AC3E}">
        <p14:creationId xmlns:p14="http://schemas.microsoft.com/office/powerpoint/2010/main" val="4816458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335F3C-453A-93CD-73C1-3EF957EFB7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tangle: Rounded Corners 92">
            <a:extLst>
              <a:ext uri="{FF2B5EF4-FFF2-40B4-BE49-F238E27FC236}">
                <a16:creationId xmlns:a16="http://schemas.microsoft.com/office/drawing/2014/main" id="{F01241CF-B76E-02CB-301D-95E1B2C5A9A6}"/>
              </a:ext>
            </a:extLst>
          </p:cNvPr>
          <p:cNvSpPr/>
          <p:nvPr/>
        </p:nvSpPr>
        <p:spPr>
          <a:xfrm>
            <a:off x="619971" y="1567329"/>
            <a:ext cx="5476027" cy="4183488"/>
          </a:xfrm>
          <a:prstGeom prst="roundRect">
            <a:avLst>
              <a:gd name="adj" fmla="val 5450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3C8C8F8-044D-EA78-06C2-E17EAAB0F96D}"/>
              </a:ext>
            </a:extLst>
          </p:cNvPr>
          <p:cNvCxnSpPr>
            <a:cxnSpLocks/>
            <a:stCxn id="8" idx="2"/>
          </p:cNvCxnSpPr>
          <p:nvPr/>
        </p:nvCxnSpPr>
        <p:spPr>
          <a:xfrm flipH="1">
            <a:off x="1286183" y="3055549"/>
            <a:ext cx="5456" cy="1854798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05AE4E-3B64-420F-49B1-0659455D86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7726" y="6449644"/>
            <a:ext cx="465174" cy="18000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CB0E19-F4C8-4F98-96D2-CE1ECDE59975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4" name="Rectangle: Rounded Corners 93">
            <a:extLst>
              <a:ext uri="{FF2B5EF4-FFF2-40B4-BE49-F238E27FC236}">
                <a16:creationId xmlns:a16="http://schemas.microsoft.com/office/drawing/2014/main" id="{7D9959D8-A651-9057-90EE-D076C97311B6}"/>
              </a:ext>
            </a:extLst>
          </p:cNvPr>
          <p:cNvSpPr/>
          <p:nvPr/>
        </p:nvSpPr>
        <p:spPr>
          <a:xfrm>
            <a:off x="619972" y="1522679"/>
            <a:ext cx="5476028" cy="287943"/>
          </a:xfrm>
          <a:prstGeom prst="roundRect">
            <a:avLst>
              <a:gd name="adj" fmla="val 50000"/>
            </a:avLst>
          </a:prstGeom>
          <a:solidFill>
            <a:srgbClr val="002068"/>
          </a:solidFill>
        </p:spPr>
        <p:txBody>
          <a:bodyPr wrap="square" lIns="144000" tIns="0" rIns="108000" bIns="0" anchor="ctr" anchorCtr="0">
            <a:noAutofit/>
          </a:bodyPr>
          <a:lstStyle/>
          <a:p>
            <a:pPr marL="0" marR="0" lvl="0" indent="0" algn="l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/>
                <a:cs typeface="Arial"/>
              </a:rPr>
              <a:t>Team Structur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76F1934-D74A-7AD5-52DB-9BB260CECA58}"/>
              </a:ext>
            </a:extLst>
          </p:cNvPr>
          <p:cNvSpPr/>
          <p:nvPr/>
        </p:nvSpPr>
        <p:spPr>
          <a:xfrm>
            <a:off x="6947514" y="1522680"/>
            <a:ext cx="3960005" cy="4183488"/>
          </a:xfrm>
          <a:prstGeom prst="roundRect">
            <a:avLst>
              <a:gd name="adj" fmla="val 5450"/>
            </a:avLst>
          </a:prstGeom>
          <a:solidFill>
            <a:srgbClr val="F2F2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wer BI Field Dashboard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CE </a:t>
            </a: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→</a:t>
            </a: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PIs, IDS+ &amp; BES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Engineering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S Transition to </a:t>
            </a:r>
            <a:r>
              <a:rPr kumimoji="0" lang="en-GB" sz="14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yreon</a:t>
            </a:r>
            <a:endParaRPr kumimoji="0" lang="en-GB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EM Launch </a:t>
            </a: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→</a:t>
            </a: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Replacement of HIP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en-GB" sz="10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en-GB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en-GB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en-GB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itle 5">
            <a:extLst>
              <a:ext uri="{FF2B5EF4-FFF2-40B4-BE49-F238E27FC236}">
                <a16:creationId xmlns:a16="http://schemas.microsoft.com/office/drawing/2014/main" id="{5D2CF1EA-186B-1319-823A-BE685E489B52}"/>
              </a:ext>
            </a:extLst>
          </p:cNvPr>
          <p:cNvSpPr txBox="1">
            <a:spLocks/>
          </p:cNvSpPr>
          <p:nvPr/>
        </p:nvSpPr>
        <p:spPr>
          <a:xfrm>
            <a:off x="604837" y="532597"/>
            <a:ext cx="9650207" cy="106527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000" b="1" kern="1200">
                <a:solidFill>
                  <a:srgbClr val="00206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Data Strategy &amp; Business Operations Team </a:t>
            </a:r>
            <a:endParaRPr kumimoji="0" lang="en-CA" sz="3200" b="1" i="0" u="none" strike="noStrike" kern="1200" cap="none" spc="0" normalizeH="0" baseline="0" noProof="0">
              <a:ln>
                <a:noFill/>
              </a:ln>
              <a:solidFill>
                <a:srgbClr val="002068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72AE26A4-5CBC-EE0C-4B35-3DBF24FD8537}"/>
              </a:ext>
            </a:extLst>
          </p:cNvPr>
          <p:cNvSpPr/>
          <p:nvPr/>
        </p:nvSpPr>
        <p:spPr>
          <a:xfrm>
            <a:off x="6935278" y="1522680"/>
            <a:ext cx="3984475" cy="287942"/>
          </a:xfrm>
          <a:prstGeom prst="roundRect">
            <a:avLst>
              <a:gd name="adj" fmla="val 50000"/>
            </a:avLst>
          </a:prstGeom>
          <a:solidFill>
            <a:srgbClr val="8F2DDE"/>
          </a:solidFill>
        </p:spPr>
        <p:txBody>
          <a:bodyPr wrap="square" lIns="144000" tIns="0" rIns="108000" bIns="0" anchor="ctr" anchorCtr="0">
            <a:noAutofit/>
          </a:bodyPr>
          <a:lstStyle/>
          <a:p>
            <a:pPr marL="0" marR="0" lvl="0" indent="0" algn="l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ＭＳ Ｐゴシック"/>
                <a:cs typeface="Arial"/>
              </a:rPr>
              <a:t>Our 90 Days Focus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A62C1118-9678-983D-2C4D-A174AF6A5DF9}"/>
              </a:ext>
            </a:extLst>
          </p:cNvPr>
          <p:cNvSpPr/>
          <p:nvPr/>
        </p:nvSpPr>
        <p:spPr>
          <a:xfrm>
            <a:off x="2217939" y="2146912"/>
            <a:ext cx="2313523" cy="321238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Eric Simard</a:t>
            </a:r>
          </a:p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Head Data Strategy and Business Op</a:t>
            </a:r>
            <a:r>
              <a:rPr kumimoji="0" lang="en-US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eration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s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1076F4CA-9D41-5D7E-97D9-82A205F67A3A}"/>
              </a:ext>
            </a:extLst>
          </p:cNvPr>
          <p:cNvSpPr/>
          <p:nvPr/>
        </p:nvSpPr>
        <p:spPr>
          <a:xfrm>
            <a:off x="794491" y="2734311"/>
            <a:ext cx="994295" cy="321238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Caroline O’Brien</a:t>
            </a:r>
          </a:p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Lead, Data Strategy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CF9C306-5AD5-8700-CCE6-A3F6C8DD39AB}"/>
              </a:ext>
            </a:extLst>
          </p:cNvPr>
          <p:cNvSpPr/>
          <p:nvPr/>
        </p:nvSpPr>
        <p:spPr>
          <a:xfrm>
            <a:off x="779880" y="3147210"/>
            <a:ext cx="994295" cy="321238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Harini Sanjay Pathak</a:t>
            </a:r>
          </a:p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Data Engineer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179812F-9B53-9EDF-5C6B-8261F120C359}"/>
              </a:ext>
            </a:extLst>
          </p:cNvPr>
          <p:cNvSpPr/>
          <p:nvPr/>
        </p:nvSpPr>
        <p:spPr>
          <a:xfrm>
            <a:off x="780743" y="3532532"/>
            <a:ext cx="994295" cy="321238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Patrick Bancerz</a:t>
            </a:r>
          </a:p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BI Developer</a:t>
            </a:r>
          </a:p>
        </p:txBody>
      </p:sp>
      <p:sp>
        <p:nvSpPr>
          <p:cNvPr id="14" name="Rectangle 413">
            <a:extLst>
              <a:ext uri="{FF2B5EF4-FFF2-40B4-BE49-F238E27FC236}">
                <a16:creationId xmlns:a16="http://schemas.microsoft.com/office/drawing/2014/main" id="{5D7F8416-EB66-0882-BB6A-62F8AFCA665C}"/>
              </a:ext>
            </a:extLst>
          </p:cNvPr>
          <p:cNvSpPr/>
          <p:nvPr/>
        </p:nvSpPr>
        <p:spPr>
          <a:xfrm>
            <a:off x="1277890" y="2621577"/>
            <a:ext cx="4193735" cy="108000"/>
          </a:xfrm>
          <a:custGeom>
            <a:avLst/>
            <a:gdLst>
              <a:gd name="connsiteX0" fmla="*/ 54000 w 4193735"/>
              <a:gd name="connsiteY0" fmla="*/ 0 h 108000"/>
              <a:gd name="connsiteX1" fmla="*/ 4139735 w 4193735"/>
              <a:gd name="connsiteY1" fmla="*/ 0 h 108000"/>
              <a:gd name="connsiteX2" fmla="*/ 4193735 w 4193735"/>
              <a:gd name="connsiteY2" fmla="*/ 54000 h 108000"/>
              <a:gd name="connsiteX3" fmla="*/ 4193735 w 4193735"/>
              <a:gd name="connsiteY3" fmla="*/ 108000 h 108000"/>
              <a:gd name="connsiteX4" fmla="*/ 4193735 w 4193735"/>
              <a:gd name="connsiteY4" fmla="*/ 108000 h 108000"/>
              <a:gd name="connsiteX5" fmla="*/ 0 w 4193735"/>
              <a:gd name="connsiteY5" fmla="*/ 108000 h 108000"/>
              <a:gd name="connsiteX6" fmla="*/ 0 w 4193735"/>
              <a:gd name="connsiteY6" fmla="*/ 108000 h 108000"/>
              <a:gd name="connsiteX7" fmla="*/ 0 w 4193735"/>
              <a:gd name="connsiteY7" fmla="*/ 54000 h 108000"/>
              <a:gd name="connsiteX8" fmla="*/ 54000 w 4193735"/>
              <a:gd name="connsiteY8" fmla="*/ 0 h 108000"/>
              <a:gd name="connsiteX0" fmla="*/ 54000 w 4193735"/>
              <a:gd name="connsiteY0" fmla="*/ 0 h 108000"/>
              <a:gd name="connsiteX1" fmla="*/ 4139735 w 4193735"/>
              <a:gd name="connsiteY1" fmla="*/ 0 h 108000"/>
              <a:gd name="connsiteX2" fmla="*/ 4193735 w 4193735"/>
              <a:gd name="connsiteY2" fmla="*/ 54000 h 108000"/>
              <a:gd name="connsiteX3" fmla="*/ 4193735 w 4193735"/>
              <a:gd name="connsiteY3" fmla="*/ 108000 h 108000"/>
              <a:gd name="connsiteX4" fmla="*/ 4193735 w 4193735"/>
              <a:gd name="connsiteY4" fmla="*/ 108000 h 108000"/>
              <a:gd name="connsiteX5" fmla="*/ 512964 w 4193735"/>
              <a:gd name="connsiteY5" fmla="*/ 104118 h 108000"/>
              <a:gd name="connsiteX6" fmla="*/ 0 w 4193735"/>
              <a:gd name="connsiteY6" fmla="*/ 108000 h 108000"/>
              <a:gd name="connsiteX7" fmla="*/ 0 w 4193735"/>
              <a:gd name="connsiteY7" fmla="*/ 108000 h 108000"/>
              <a:gd name="connsiteX8" fmla="*/ 0 w 4193735"/>
              <a:gd name="connsiteY8" fmla="*/ 54000 h 108000"/>
              <a:gd name="connsiteX9" fmla="*/ 54000 w 4193735"/>
              <a:gd name="connsiteY9" fmla="*/ 0 h 108000"/>
              <a:gd name="connsiteX0" fmla="*/ 512964 w 4193735"/>
              <a:gd name="connsiteY0" fmla="*/ 104118 h 195558"/>
              <a:gd name="connsiteX1" fmla="*/ 0 w 4193735"/>
              <a:gd name="connsiteY1" fmla="*/ 108000 h 195558"/>
              <a:gd name="connsiteX2" fmla="*/ 0 w 4193735"/>
              <a:gd name="connsiteY2" fmla="*/ 108000 h 195558"/>
              <a:gd name="connsiteX3" fmla="*/ 0 w 4193735"/>
              <a:gd name="connsiteY3" fmla="*/ 54000 h 195558"/>
              <a:gd name="connsiteX4" fmla="*/ 54000 w 4193735"/>
              <a:gd name="connsiteY4" fmla="*/ 0 h 195558"/>
              <a:gd name="connsiteX5" fmla="*/ 4139735 w 4193735"/>
              <a:gd name="connsiteY5" fmla="*/ 0 h 195558"/>
              <a:gd name="connsiteX6" fmla="*/ 4193735 w 4193735"/>
              <a:gd name="connsiteY6" fmla="*/ 54000 h 195558"/>
              <a:gd name="connsiteX7" fmla="*/ 4193735 w 4193735"/>
              <a:gd name="connsiteY7" fmla="*/ 108000 h 195558"/>
              <a:gd name="connsiteX8" fmla="*/ 4193735 w 4193735"/>
              <a:gd name="connsiteY8" fmla="*/ 108000 h 195558"/>
              <a:gd name="connsiteX9" fmla="*/ 604404 w 4193735"/>
              <a:gd name="connsiteY9" fmla="*/ 195558 h 195558"/>
              <a:gd name="connsiteX0" fmla="*/ 0 w 4193735"/>
              <a:gd name="connsiteY0" fmla="*/ 108000 h 195558"/>
              <a:gd name="connsiteX1" fmla="*/ 0 w 4193735"/>
              <a:gd name="connsiteY1" fmla="*/ 108000 h 195558"/>
              <a:gd name="connsiteX2" fmla="*/ 0 w 4193735"/>
              <a:gd name="connsiteY2" fmla="*/ 54000 h 195558"/>
              <a:gd name="connsiteX3" fmla="*/ 54000 w 4193735"/>
              <a:gd name="connsiteY3" fmla="*/ 0 h 195558"/>
              <a:gd name="connsiteX4" fmla="*/ 4139735 w 4193735"/>
              <a:gd name="connsiteY4" fmla="*/ 0 h 195558"/>
              <a:gd name="connsiteX5" fmla="*/ 4193735 w 4193735"/>
              <a:gd name="connsiteY5" fmla="*/ 54000 h 195558"/>
              <a:gd name="connsiteX6" fmla="*/ 4193735 w 4193735"/>
              <a:gd name="connsiteY6" fmla="*/ 108000 h 195558"/>
              <a:gd name="connsiteX7" fmla="*/ 4193735 w 4193735"/>
              <a:gd name="connsiteY7" fmla="*/ 108000 h 195558"/>
              <a:gd name="connsiteX8" fmla="*/ 604404 w 4193735"/>
              <a:gd name="connsiteY8" fmla="*/ 195558 h 195558"/>
              <a:gd name="connsiteX0" fmla="*/ 0 w 4193735"/>
              <a:gd name="connsiteY0" fmla="*/ 108000 h 108000"/>
              <a:gd name="connsiteX1" fmla="*/ 0 w 4193735"/>
              <a:gd name="connsiteY1" fmla="*/ 108000 h 108000"/>
              <a:gd name="connsiteX2" fmla="*/ 0 w 4193735"/>
              <a:gd name="connsiteY2" fmla="*/ 54000 h 108000"/>
              <a:gd name="connsiteX3" fmla="*/ 54000 w 4193735"/>
              <a:gd name="connsiteY3" fmla="*/ 0 h 108000"/>
              <a:gd name="connsiteX4" fmla="*/ 4139735 w 4193735"/>
              <a:gd name="connsiteY4" fmla="*/ 0 h 108000"/>
              <a:gd name="connsiteX5" fmla="*/ 4193735 w 4193735"/>
              <a:gd name="connsiteY5" fmla="*/ 54000 h 108000"/>
              <a:gd name="connsiteX6" fmla="*/ 4193735 w 4193735"/>
              <a:gd name="connsiteY6" fmla="*/ 108000 h 108000"/>
              <a:gd name="connsiteX7" fmla="*/ 4193735 w 4193735"/>
              <a:gd name="connsiteY7" fmla="*/ 108000 h 1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93735" h="108000">
                <a:moveTo>
                  <a:pt x="0" y="108000"/>
                </a:moveTo>
                <a:lnTo>
                  <a:pt x="0" y="108000"/>
                </a:lnTo>
                <a:lnTo>
                  <a:pt x="0" y="54000"/>
                </a:lnTo>
                <a:cubicBezTo>
                  <a:pt x="0" y="24177"/>
                  <a:pt x="24177" y="0"/>
                  <a:pt x="54000" y="0"/>
                </a:cubicBezTo>
                <a:lnTo>
                  <a:pt x="4139735" y="0"/>
                </a:lnTo>
                <a:cubicBezTo>
                  <a:pt x="4169558" y="0"/>
                  <a:pt x="4193735" y="24177"/>
                  <a:pt x="4193735" y="54000"/>
                </a:cubicBezTo>
                <a:lnTo>
                  <a:pt x="4193735" y="108000"/>
                </a:lnTo>
                <a:lnTo>
                  <a:pt x="4193735" y="108000"/>
                </a:lnTo>
              </a:path>
            </a:pathLst>
          </a:cu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1232605-1DA7-6ACC-9571-549B5FBDEFBE}"/>
              </a:ext>
            </a:extLst>
          </p:cNvPr>
          <p:cNvCxnSpPr>
            <a:cxnSpLocks/>
          </p:cNvCxnSpPr>
          <p:nvPr/>
        </p:nvCxnSpPr>
        <p:spPr>
          <a:xfrm>
            <a:off x="2689494" y="2631545"/>
            <a:ext cx="0" cy="110761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95DF4A3-F733-B3CF-61F9-D92F874B71EE}"/>
              </a:ext>
            </a:extLst>
          </p:cNvPr>
          <p:cNvCxnSpPr>
            <a:cxnSpLocks/>
          </p:cNvCxnSpPr>
          <p:nvPr/>
        </p:nvCxnSpPr>
        <p:spPr>
          <a:xfrm>
            <a:off x="4022407" y="2626785"/>
            <a:ext cx="0" cy="110761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7327B3C9-4120-BDB3-66D4-F32D218D2150}"/>
              </a:ext>
            </a:extLst>
          </p:cNvPr>
          <p:cNvSpPr/>
          <p:nvPr/>
        </p:nvSpPr>
        <p:spPr>
          <a:xfrm>
            <a:off x="773529" y="3943671"/>
            <a:ext cx="994295" cy="321238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Aniruddha Namjoshi</a:t>
            </a:r>
          </a:p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Project Manager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FE5BEB0-D262-3C40-1501-F194D1A56D36}"/>
              </a:ext>
            </a:extLst>
          </p:cNvPr>
          <p:cNvSpPr/>
          <p:nvPr/>
        </p:nvSpPr>
        <p:spPr>
          <a:xfrm>
            <a:off x="773529" y="4345920"/>
            <a:ext cx="994295" cy="321238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Nandani Yadav</a:t>
            </a:r>
          </a:p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Data Analyst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70DF4891-AA33-A4BD-3E20-4C80A41326DD}"/>
              </a:ext>
            </a:extLst>
          </p:cNvPr>
          <p:cNvSpPr/>
          <p:nvPr/>
        </p:nvSpPr>
        <p:spPr>
          <a:xfrm>
            <a:off x="4896719" y="2742306"/>
            <a:ext cx="994295" cy="321238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Carole Daigneault</a:t>
            </a:r>
          </a:p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Meetings &amp; Events Manager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0717D86-3956-96E4-C135-8FECA784E3EA}"/>
              </a:ext>
            </a:extLst>
          </p:cNvPr>
          <p:cNvCxnSpPr>
            <a:cxnSpLocks/>
          </p:cNvCxnSpPr>
          <p:nvPr/>
        </p:nvCxnSpPr>
        <p:spPr>
          <a:xfrm>
            <a:off x="3374701" y="2483097"/>
            <a:ext cx="56" cy="14400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9B5DC4-A37D-CC2F-97FE-94A49136ACF0}"/>
              </a:ext>
            </a:extLst>
          </p:cNvPr>
          <p:cNvCxnSpPr>
            <a:cxnSpLocks/>
          </p:cNvCxnSpPr>
          <p:nvPr/>
        </p:nvCxnSpPr>
        <p:spPr>
          <a:xfrm flipH="1">
            <a:off x="2683143" y="3031595"/>
            <a:ext cx="1" cy="2278384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EEE48D7B-1081-0725-8CB1-D45C8F07C07C}"/>
              </a:ext>
            </a:extLst>
          </p:cNvPr>
          <p:cNvSpPr/>
          <p:nvPr/>
        </p:nvSpPr>
        <p:spPr>
          <a:xfrm>
            <a:off x="773529" y="4753433"/>
            <a:ext cx="994295" cy="321238"/>
          </a:xfrm>
          <a:prstGeom prst="roundRect">
            <a:avLst>
              <a:gd name="adj" fmla="val 5000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Vacant</a:t>
            </a:r>
          </a:p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Data Manager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02EBCA6C-FA3E-48A5-05C7-9EF030C283D4}"/>
              </a:ext>
            </a:extLst>
          </p:cNvPr>
          <p:cNvSpPr/>
          <p:nvPr/>
        </p:nvSpPr>
        <p:spPr>
          <a:xfrm>
            <a:off x="5243851" y="5309979"/>
            <a:ext cx="647163" cy="321238"/>
          </a:xfrm>
          <a:prstGeom prst="roundRect">
            <a:avLst>
              <a:gd name="adj" fmla="val 5000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New Role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CC4C9214-813B-F7A0-23A8-967313EFBFFE}"/>
              </a:ext>
            </a:extLst>
          </p:cNvPr>
          <p:cNvSpPr/>
          <p:nvPr/>
        </p:nvSpPr>
        <p:spPr>
          <a:xfrm>
            <a:off x="5243851" y="4914052"/>
            <a:ext cx="647163" cy="32123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Syreon</a:t>
            </a:r>
            <a:endParaRPr kumimoji="0" lang="en-US" sz="75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6C383228-1BF5-E2A9-419D-7F616753001C}"/>
              </a:ext>
            </a:extLst>
          </p:cNvPr>
          <p:cNvSpPr/>
          <p:nvPr/>
        </p:nvSpPr>
        <p:spPr>
          <a:xfrm>
            <a:off x="2192347" y="3532532"/>
            <a:ext cx="994295" cy="32123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Linda Mitchell</a:t>
            </a:r>
          </a:p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Ops Supp. Specialist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AE980111-E352-6001-683D-82EACB06A6D7}"/>
              </a:ext>
            </a:extLst>
          </p:cNvPr>
          <p:cNvSpPr/>
          <p:nvPr/>
        </p:nvSpPr>
        <p:spPr>
          <a:xfrm>
            <a:off x="2192347" y="3936324"/>
            <a:ext cx="994295" cy="32123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Frida Martinez</a:t>
            </a:r>
          </a:p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Ops Supp. Specialist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93FB3DF8-E782-0265-2659-6F690083DC0E}"/>
              </a:ext>
            </a:extLst>
          </p:cNvPr>
          <p:cNvSpPr/>
          <p:nvPr/>
        </p:nvSpPr>
        <p:spPr>
          <a:xfrm>
            <a:off x="2192347" y="4340659"/>
            <a:ext cx="994295" cy="32123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Rania Chahed</a:t>
            </a:r>
          </a:p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Ops Supp. Specialist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602EBE2D-4A38-D7E1-2C63-B1E003512ADB}"/>
              </a:ext>
            </a:extLst>
          </p:cNvPr>
          <p:cNvSpPr/>
          <p:nvPr/>
        </p:nvSpPr>
        <p:spPr>
          <a:xfrm>
            <a:off x="2185996" y="4744994"/>
            <a:ext cx="994295" cy="32123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Stephanie Sultan</a:t>
            </a:r>
          </a:p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Ops Supp. Specialist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D078B286-897A-84B0-1A83-63043350C505}"/>
              </a:ext>
            </a:extLst>
          </p:cNvPr>
          <p:cNvSpPr/>
          <p:nvPr/>
        </p:nvSpPr>
        <p:spPr>
          <a:xfrm>
            <a:off x="2192347" y="5130051"/>
            <a:ext cx="994295" cy="32123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Ashveer </a:t>
            </a:r>
            <a:r>
              <a:rPr kumimoji="0" lang="en-US" sz="75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Hurnam</a:t>
            </a:r>
            <a:endParaRPr kumimoji="0" lang="en-US" sz="75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ＭＳ Ｐゴシック" pitchFamily="34" charset="-128"/>
              <a:cs typeface="Arial" panose="020B0604020202020204" pitchFamily="34" charset="0"/>
            </a:endParaRPr>
          </a:p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Ops Supp. Specialist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2121E361-F7B5-4585-357F-5DE634310C3E}"/>
              </a:ext>
            </a:extLst>
          </p:cNvPr>
          <p:cNvSpPr/>
          <p:nvPr/>
        </p:nvSpPr>
        <p:spPr>
          <a:xfrm>
            <a:off x="2192347" y="3142196"/>
            <a:ext cx="994295" cy="32123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Manon Aube</a:t>
            </a:r>
          </a:p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Ops Supp. Specialist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D526C22C-D807-B0A2-63EE-99A18F0BE71A}"/>
              </a:ext>
            </a:extLst>
          </p:cNvPr>
          <p:cNvCxnSpPr>
            <a:cxnSpLocks/>
          </p:cNvCxnSpPr>
          <p:nvPr/>
        </p:nvCxnSpPr>
        <p:spPr>
          <a:xfrm flipH="1">
            <a:off x="4010283" y="3034740"/>
            <a:ext cx="1" cy="2278384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DF499326-4E87-AFF8-380F-B3626DDBA46C}"/>
              </a:ext>
            </a:extLst>
          </p:cNvPr>
          <p:cNvSpPr/>
          <p:nvPr/>
        </p:nvSpPr>
        <p:spPr>
          <a:xfrm>
            <a:off x="3519487" y="3535677"/>
            <a:ext cx="994295" cy="32123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Oussama </a:t>
            </a:r>
            <a:r>
              <a:rPr kumimoji="0" lang="en-US" sz="75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Rabehi</a:t>
            </a:r>
            <a:endParaRPr kumimoji="0" lang="en-US" sz="75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ＭＳ Ｐゴシック" pitchFamily="34" charset="-128"/>
              <a:cs typeface="Arial" panose="020B0604020202020204" pitchFamily="34" charset="0"/>
            </a:endParaRPr>
          </a:p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Med Ops Coord.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F50D9A41-B618-A935-B581-C116B806843B}"/>
              </a:ext>
            </a:extLst>
          </p:cNvPr>
          <p:cNvSpPr/>
          <p:nvPr/>
        </p:nvSpPr>
        <p:spPr>
          <a:xfrm>
            <a:off x="3519487" y="3939469"/>
            <a:ext cx="994295" cy="32123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Leandra Ercoli</a:t>
            </a:r>
          </a:p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Med Ops Coord.</a:t>
            </a: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E4E1F3C7-82EF-C9F5-48DF-7E7B534578C4}"/>
              </a:ext>
            </a:extLst>
          </p:cNvPr>
          <p:cNvSpPr/>
          <p:nvPr/>
        </p:nvSpPr>
        <p:spPr>
          <a:xfrm>
            <a:off x="3519487" y="4343804"/>
            <a:ext cx="994295" cy="32123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Simron Kaur</a:t>
            </a:r>
          </a:p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Med Ops Coord.</a:t>
            </a: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C4C4DF22-0AD4-7E08-3F48-CECA2094BFC6}"/>
              </a:ext>
            </a:extLst>
          </p:cNvPr>
          <p:cNvSpPr/>
          <p:nvPr/>
        </p:nvSpPr>
        <p:spPr>
          <a:xfrm>
            <a:off x="3513136" y="4748139"/>
            <a:ext cx="994295" cy="32123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Melody Charron</a:t>
            </a:r>
          </a:p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Med Ops Coord.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EEB50EA5-7FBB-FFE7-A62A-D1A2E1403DB7}"/>
              </a:ext>
            </a:extLst>
          </p:cNvPr>
          <p:cNvSpPr/>
          <p:nvPr/>
        </p:nvSpPr>
        <p:spPr>
          <a:xfrm>
            <a:off x="3519487" y="5133196"/>
            <a:ext cx="994295" cy="32123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Med Mazher</a:t>
            </a:r>
          </a:p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Med Ops Coord.</a:t>
            </a: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0C20F24A-75D1-8CDC-6FD9-45323250B259}"/>
              </a:ext>
            </a:extLst>
          </p:cNvPr>
          <p:cNvSpPr/>
          <p:nvPr/>
        </p:nvSpPr>
        <p:spPr>
          <a:xfrm>
            <a:off x="3519487" y="3145341"/>
            <a:ext cx="994295" cy="32123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Hilary Danger</a:t>
            </a:r>
          </a:p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Med Ops Coord.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8FB5DF9-7999-9C22-68E2-C3B0EA077D13}"/>
              </a:ext>
            </a:extLst>
          </p:cNvPr>
          <p:cNvSpPr/>
          <p:nvPr/>
        </p:nvSpPr>
        <p:spPr>
          <a:xfrm>
            <a:off x="2192347" y="2730231"/>
            <a:ext cx="994295" cy="321238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Alanna Kouyoumdjian</a:t>
            </a:r>
          </a:p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OSS Manager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9B76B714-B543-DDD7-0A8D-548BEA058E28}"/>
              </a:ext>
            </a:extLst>
          </p:cNvPr>
          <p:cNvSpPr/>
          <p:nvPr/>
        </p:nvSpPr>
        <p:spPr>
          <a:xfrm>
            <a:off x="3525260" y="2735562"/>
            <a:ext cx="994295" cy="321238"/>
          </a:xfrm>
          <a:prstGeom prst="roundRect">
            <a:avLst>
              <a:gd name="adj" fmla="val 50000"/>
            </a:avLst>
          </a:prstGeom>
          <a:solidFill>
            <a:schemeClr val="bg1"/>
          </a:solidFill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Marina Riad</a:t>
            </a:r>
          </a:p>
          <a:p>
            <a:pPr marL="0" marR="0" lvl="0" indent="0" algn="ctr" defTabSz="914233" rtl="0" eaLnBrk="1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ＭＳ Ｐゴシック" pitchFamily="34" charset="-128"/>
                <a:cs typeface="Arial" panose="020B0604020202020204" pitchFamily="34" charset="0"/>
              </a:rPr>
              <a:t>Medical Operations Manager</a:t>
            </a:r>
          </a:p>
        </p:txBody>
      </p:sp>
    </p:spTree>
    <p:extLst>
      <p:ext uri="{BB962C8B-B14F-4D97-AF65-F5344CB8AC3E}">
        <p14:creationId xmlns:p14="http://schemas.microsoft.com/office/powerpoint/2010/main" val="25160297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9CFA85B-DCA3-1C43-2568-15F189F1A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B0E19-F4C8-4F98-96D2-CE1ECDE59975}" type="slidenum">
              <a:rPr lang="en-GB" smtClean="0"/>
              <a:t>3</a:t>
            </a:fld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D94DAE1-1E44-C305-28DC-BC46BC0F373F}"/>
              </a:ext>
            </a:extLst>
          </p:cNvPr>
          <p:cNvSpPr txBox="1"/>
          <p:nvPr/>
        </p:nvSpPr>
        <p:spPr>
          <a:xfrm>
            <a:off x="604837" y="1289953"/>
            <a:ext cx="9916886" cy="42780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>
              <a:buFont typeface="Wingdings" panose="05000000000000000000" pitchFamily="2" charset="2"/>
              <a:buChar char=""/>
            </a:pPr>
            <a:r>
              <a:rPr lang="en-US" sz="1800" b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PO Management</a:t>
            </a:r>
            <a:r>
              <a:rPr lang="en-US" sz="180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(Creation of Purchase Order (PO) requests including amendments and changes to phasing/delivery dates)</a:t>
            </a:r>
            <a:endParaRPr lang="en-US" sz="280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marR="0" lvl="0" indent="-342900">
              <a:buFont typeface="Wingdings" panose="05000000000000000000" pitchFamily="2" charset="2"/>
              <a:buChar char=""/>
            </a:pPr>
            <a:r>
              <a:rPr lang="en-US" sz="1800" b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GR Management </a:t>
            </a:r>
            <a:r>
              <a:rPr lang="en-US" sz="180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(Collaboration with brand teams &amp; finance to record the good received (GR) in the right months to ensure P&amp;L accuracy)</a:t>
            </a:r>
            <a:endParaRPr lang="en-US" sz="280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marR="0" lvl="0" indent="-342900">
              <a:buFont typeface="Wingdings" panose="05000000000000000000" pitchFamily="2" charset="2"/>
              <a:buChar char=""/>
            </a:pPr>
            <a:r>
              <a:rPr lang="en-US" sz="1800" b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Payment Requests</a:t>
            </a:r>
            <a:r>
              <a:rPr lang="en-US" sz="180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(</a:t>
            </a:r>
            <a:r>
              <a:rPr lang="en-US" sz="1800" err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BeSure</a:t>
            </a:r>
            <a:r>
              <a:rPr lang="en-US" sz="180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activities payment i.e. Sponsorship, Membership, Patient/PAG Speakers, Preceptorships, Donations, etc.)</a:t>
            </a:r>
          </a:p>
          <a:p>
            <a:pPr marL="342900" indent="-342900">
              <a:buFont typeface="Wingdings" panose="05000000000000000000" pitchFamily="2" charset="2"/>
              <a:buChar char=""/>
            </a:pPr>
            <a:r>
              <a:rPr lang="en-US" sz="1800" b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Fuse Management</a:t>
            </a:r>
            <a:r>
              <a:rPr lang="en-US" sz="180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(Content Approval Platform)</a:t>
            </a:r>
          </a:p>
          <a:p>
            <a:pPr marL="342900" marR="0" lvl="0" indent="-342900">
              <a:buFont typeface="Wingdings" panose="05000000000000000000" pitchFamily="2" charset="2"/>
              <a:buChar char=""/>
            </a:pPr>
            <a:r>
              <a:rPr lang="en-US" b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Ashfield</a:t>
            </a:r>
            <a:r>
              <a:rPr lang="en-US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</a:t>
            </a:r>
            <a:r>
              <a:rPr lang="en-US" b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Warehouse Management</a:t>
            </a:r>
            <a:r>
              <a:rPr lang="en-US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(Printed Promo Material for all brands)</a:t>
            </a:r>
            <a:endParaRPr lang="en-US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marR="0" lvl="0" indent="-342900">
              <a:buFont typeface="Wingdings" panose="05000000000000000000" pitchFamily="2" charset="2"/>
              <a:buChar char=""/>
            </a:pPr>
            <a:r>
              <a:rPr lang="en-US" b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P-Card Payments</a:t>
            </a:r>
            <a:r>
              <a:rPr lang="en-US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(Purchases to be made on a Novartis P-Card)</a:t>
            </a:r>
            <a:endParaRPr lang="en-US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"/>
            </a:pPr>
            <a:endParaRPr lang="en-US" sz="280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marR="0" lvl="0" indent="-342900">
              <a:buFont typeface="Wingdings" panose="05000000000000000000" pitchFamily="2" charset="2"/>
              <a:buChar char=""/>
            </a:pPr>
            <a:r>
              <a:rPr lang="en-US" sz="1800" b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HCP External Engagements</a:t>
            </a:r>
            <a:r>
              <a:rPr lang="en-US" sz="180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(HIP platform that processes HCP payments for their collaboration in non-promotional events)</a:t>
            </a:r>
          </a:p>
          <a:p>
            <a:pPr marR="0" lvl="0"/>
            <a:endParaRPr lang="en-US" sz="280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marR="0" lvl="0" indent="-342900">
              <a:buFont typeface="Wingdings" panose="05000000000000000000" pitchFamily="2" charset="2"/>
              <a:buChar char=""/>
            </a:pPr>
            <a:r>
              <a:rPr lang="en-US" sz="1800" b="1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Meeting Planning</a:t>
            </a:r>
            <a:r>
              <a:rPr lang="en-US" sz="180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 (Coordination of internal and external meetings logistics)</a:t>
            </a:r>
            <a:endParaRPr lang="en-US" sz="280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5CB6CE24-DF8F-9B83-1D08-48A9D9A2F3E6}"/>
              </a:ext>
            </a:extLst>
          </p:cNvPr>
          <p:cNvSpPr txBox="1">
            <a:spLocks/>
          </p:cNvSpPr>
          <p:nvPr/>
        </p:nvSpPr>
        <p:spPr>
          <a:xfrm>
            <a:off x="604837" y="532597"/>
            <a:ext cx="9650207" cy="106527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000" b="1" kern="1200">
                <a:solidFill>
                  <a:srgbClr val="00206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OSS Main Responsibilities</a:t>
            </a:r>
            <a:endParaRPr kumimoji="0" lang="en-CA" sz="3200" b="1" i="0" u="none" strike="noStrike" kern="1200" cap="none" spc="0" normalizeH="0" baseline="0" noProof="0">
              <a:ln>
                <a:noFill/>
              </a:ln>
              <a:solidFill>
                <a:srgbClr val="002068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1962616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C3CBAE-0CB0-04DE-B011-729017ED191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26863" y="6450013"/>
            <a:ext cx="465137" cy="179387"/>
          </a:xfrm>
        </p:spPr>
        <p:txBody>
          <a:bodyPr/>
          <a:lstStyle/>
          <a:p>
            <a:fld id="{03CB0E19-F4C8-4F98-96D2-CE1ECDE59975}" type="slidenum">
              <a:rPr lang="en-GB" smtClean="0"/>
              <a:t>4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F356D11-9307-0E6B-5A5D-1DB3D9AE54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02102" y="152621"/>
            <a:ext cx="7489927" cy="65527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409138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94CB3D-0CA8-ECAA-BDD7-B35F006FB8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EE97C9-BAB5-61DC-89FC-175A962E1612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6096000" y="2539886"/>
            <a:ext cx="5814479" cy="2274888"/>
          </a:xfrm>
        </p:spPr>
        <p:txBody>
          <a:bodyPr/>
          <a:lstStyle/>
          <a:p>
            <a:pPr algn="ctr"/>
            <a:r>
              <a:rPr lang="en-US" sz="4000" dirty="0">
                <a:latin typeface="Montserrat"/>
              </a:rPr>
              <a:t>Operations Support Specialists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9242752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5A1A0B7-37D7-5CB4-9B35-723F824FBA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9568658"/>
              </p:ext>
            </p:extLst>
          </p:nvPr>
        </p:nvGraphicFramePr>
        <p:xfrm>
          <a:off x="365521" y="1597875"/>
          <a:ext cx="11460957" cy="434992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812666">
                  <a:extLst>
                    <a:ext uri="{9D8B030D-6E8A-4147-A177-3AD203B41FA5}">
                      <a16:colId xmlns:a16="http://schemas.microsoft.com/office/drawing/2014/main" val="3919473635"/>
                    </a:ext>
                  </a:extLst>
                </a:gridCol>
                <a:gridCol w="3322016">
                  <a:extLst>
                    <a:ext uri="{9D8B030D-6E8A-4147-A177-3AD203B41FA5}">
                      <a16:colId xmlns:a16="http://schemas.microsoft.com/office/drawing/2014/main" val="297929047"/>
                    </a:ext>
                  </a:extLst>
                </a:gridCol>
                <a:gridCol w="6326275">
                  <a:extLst>
                    <a:ext uri="{9D8B030D-6E8A-4147-A177-3AD203B41FA5}">
                      <a16:colId xmlns:a16="http://schemas.microsoft.com/office/drawing/2014/main" val="4266662602"/>
                    </a:ext>
                  </a:extLst>
                </a:gridCol>
              </a:tblGrid>
              <a:tr h="597970">
                <a:tc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Name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Category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Therapeutic Area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0396190"/>
                  </a:ext>
                </a:extLst>
              </a:tr>
              <a:tr h="53599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>
                          <a:effectLst/>
                          <a:latin typeface="Arial"/>
                          <a:cs typeface="Arial"/>
                        </a:rPr>
                        <a:t>Alanna Kouyoumdjia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effectLst/>
                          <a:latin typeface="Arial"/>
                          <a:cs typeface="Arial"/>
                        </a:rPr>
                        <a:t>OSS Manager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effectLst/>
                          <a:latin typeface="Arial"/>
                          <a:cs typeface="Arial"/>
                        </a:rPr>
                        <a:t>Fuse Country Lead/ Ashfield Manage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effectLst/>
                          <a:latin typeface="Arial"/>
                          <a:cs typeface="Arial"/>
                        </a:rPr>
                        <a:t>Communications, Portfolio (Pharma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62161977"/>
                  </a:ext>
                </a:extLst>
              </a:tr>
              <a:tr h="53599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>
                          <a:effectLst/>
                          <a:latin typeface="Arial"/>
                          <a:cs typeface="Arial"/>
                        </a:rPr>
                        <a:t>Frida Martinez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effectLst/>
                          <a:latin typeface="Arial"/>
                          <a:cs typeface="Arial"/>
                        </a:rPr>
                        <a:t>Fuse/Ashfiel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effectLst/>
                          <a:latin typeface="Arial"/>
                          <a:cs typeface="Arial"/>
                        </a:rPr>
                        <a:t>Immunology, Medical, Neuroscience, Oncology, RL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41812819"/>
                  </a:ext>
                </a:extLst>
              </a:tr>
              <a:tr h="53599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Linda Mitchell</a:t>
                      </a:r>
                      <a:endParaRPr lang="en-US" sz="1200" b="1">
                        <a:effectLst/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Arial"/>
                          <a:cs typeface="Arial"/>
                        </a:rPr>
                        <a:t>Purchase Orders/P-Car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Arial"/>
                          <a:cs typeface="Arial"/>
                        </a:rPr>
                        <a:t>ERC, Immunology, Neuroscience, Oncolog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87153668"/>
                  </a:ext>
                </a:extLst>
              </a:tr>
              <a:tr h="535993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Manon Aube</a:t>
                      </a:r>
                      <a:endParaRPr lang="en-US" sz="1200" b="1">
                        <a:effectLst/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Arial"/>
                          <a:cs typeface="Arial"/>
                        </a:rPr>
                        <a:t>Purchase Orders/P-Car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Arial"/>
                          <a:cs typeface="Arial"/>
                        </a:rPr>
                        <a:t>BE&amp;E, Portfolio Management, RLT, P&amp;O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06306348"/>
                  </a:ext>
                </a:extLst>
              </a:tr>
              <a:tr h="535993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Rania Chahed</a:t>
                      </a:r>
                      <a:endParaRPr lang="en-US" sz="1200" b="1">
                        <a:effectLst/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Arial"/>
                          <a:cs typeface="Arial"/>
                        </a:rPr>
                        <a:t>Purchase Orders/P-Car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/>
                          <a:cs typeface="Arial"/>
                        </a:rPr>
                        <a:t>Communications, Finance, Medical, Public Affairs, Value Access, Supply Chai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94050498"/>
                  </a:ext>
                </a:extLst>
              </a:tr>
              <a:tr h="53599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Stephanie Sultan</a:t>
                      </a:r>
                      <a:endParaRPr lang="en-US" sz="1200" b="1">
                        <a:effectLst/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latin typeface="Arial"/>
                          <a:cs typeface="Arial"/>
                        </a:rPr>
                        <a:t>Payment Reques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200">
                          <a:latin typeface="Arial"/>
                          <a:cs typeface="Arial"/>
                        </a:rPr>
                        <a:t>Communications, Oncology, Patients, PAGs, Public Affairs, Value Access</a:t>
                      </a:r>
                      <a:endParaRPr lang="en-CA" sz="120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37269272"/>
                  </a:ext>
                </a:extLst>
              </a:tr>
              <a:tr h="53599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Ashveer Hurnam</a:t>
                      </a:r>
                      <a:endParaRPr lang="en-US" sz="1200" b="1">
                        <a:effectLst/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latin typeface="Arial"/>
                          <a:cs typeface="Arial"/>
                        </a:rPr>
                        <a:t>Payment Reques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Arial"/>
                          <a:cs typeface="Arial"/>
                        </a:rPr>
                        <a:t>Finance, Immunology, </a:t>
                      </a:r>
                      <a:r>
                        <a:rPr lang="en-US" sz="1200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Neuroscience</a:t>
                      </a:r>
                      <a:r>
                        <a:rPr lang="en-US" sz="1200" dirty="0">
                          <a:latin typeface="Arial"/>
                          <a:cs typeface="Arial"/>
                        </a:rPr>
                        <a:t>, </a:t>
                      </a:r>
                      <a:r>
                        <a:rPr lang="en-US" sz="1200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Portfolio Management, RLT</a:t>
                      </a:r>
                      <a:endParaRPr lang="en-CA" sz="1200" dirty="0">
                        <a:latin typeface="Arial"/>
                        <a:cs typeface="Arial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60125459"/>
                  </a:ext>
                </a:extLst>
              </a:tr>
            </a:tbl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B225AF5A-A522-47D2-FA79-585683331EEB}"/>
              </a:ext>
            </a:extLst>
          </p:cNvPr>
          <p:cNvSpPr txBox="1">
            <a:spLocks/>
          </p:cNvSpPr>
          <p:nvPr/>
        </p:nvSpPr>
        <p:spPr>
          <a:xfrm>
            <a:off x="604837" y="532597"/>
            <a:ext cx="9650207" cy="106527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000" b="1" kern="1200">
                <a:solidFill>
                  <a:srgbClr val="00206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OSS Points of Contact</a:t>
            </a:r>
            <a:endParaRPr kumimoji="0" lang="en-CA" sz="3200" b="1" i="0" u="none" strike="noStrike" kern="1200" cap="none" spc="0" normalizeH="0" baseline="0" noProof="0">
              <a:ln>
                <a:noFill/>
              </a:ln>
              <a:solidFill>
                <a:srgbClr val="002068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0599310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42DFD0-1F61-43B6-E9BA-6478B0A196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837" y="311086"/>
            <a:ext cx="8220185" cy="1065278"/>
          </a:xfrm>
        </p:spPr>
        <p:txBody>
          <a:bodyPr>
            <a:normAutofit/>
          </a:bodyPr>
          <a:lstStyle/>
          <a:p>
            <a:pPr>
              <a:lnSpc>
                <a:spcPct val="95000"/>
              </a:lnSpc>
            </a:pPr>
            <a:r>
              <a:rPr lang="en-GB" sz="3000" b="1">
                <a:solidFill>
                  <a:srgbClr val="002068"/>
                </a:solidFill>
              </a:rPr>
              <a:t>End to End PO process</a:t>
            </a:r>
            <a:endParaRPr lang="en-CA" sz="3000" b="1">
              <a:solidFill>
                <a:srgbClr val="002068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7BC686-92FF-DF89-6737-1C97615BB1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7726" y="5792419"/>
            <a:ext cx="465174" cy="180000"/>
          </a:xfrm>
        </p:spPr>
        <p:txBody>
          <a:bodyPr/>
          <a:lstStyle/>
          <a:p>
            <a:fld id="{03CB0E19-F4C8-4F98-96D2-CE1ECDE59975}" type="slidenum">
              <a:rPr lang="en-GB" smtClean="0"/>
              <a:t>7</a:t>
            </a:fld>
            <a:endParaRPr lang="en-GB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EFB65E36-F5C8-23BD-218C-5B6D0BB2770A}"/>
              </a:ext>
            </a:extLst>
          </p:cNvPr>
          <p:cNvSpPr/>
          <p:nvPr/>
        </p:nvSpPr>
        <p:spPr>
          <a:xfrm>
            <a:off x="49710" y="2128586"/>
            <a:ext cx="1963451" cy="732416"/>
          </a:xfrm>
          <a:custGeom>
            <a:avLst/>
            <a:gdLst>
              <a:gd name="connsiteX0" fmla="*/ 337211 w 1934731"/>
              <a:gd name="connsiteY0" fmla="*/ 0 h 674421"/>
              <a:gd name="connsiteX1" fmla="*/ 1934731 w 1934731"/>
              <a:gd name="connsiteY1" fmla="*/ 0 h 674421"/>
              <a:gd name="connsiteX2" fmla="*/ 1934731 w 1934731"/>
              <a:gd name="connsiteY2" fmla="*/ 674421 h 674421"/>
              <a:gd name="connsiteX3" fmla="*/ 337211 w 1934731"/>
              <a:gd name="connsiteY3" fmla="*/ 674421 h 674421"/>
              <a:gd name="connsiteX4" fmla="*/ 6851 w 1934731"/>
              <a:gd name="connsiteY4" fmla="*/ 405170 h 674421"/>
              <a:gd name="connsiteX5" fmla="*/ 0 w 1934731"/>
              <a:gd name="connsiteY5" fmla="*/ 337211 h 674421"/>
              <a:gd name="connsiteX6" fmla="*/ 6851 w 1934731"/>
              <a:gd name="connsiteY6" fmla="*/ 269251 h 674421"/>
              <a:gd name="connsiteX7" fmla="*/ 337211 w 1934731"/>
              <a:gd name="connsiteY7" fmla="*/ 0 h 674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34731" h="674421">
                <a:moveTo>
                  <a:pt x="337211" y="0"/>
                </a:moveTo>
                <a:lnTo>
                  <a:pt x="1934731" y="0"/>
                </a:lnTo>
                <a:lnTo>
                  <a:pt x="1934731" y="674421"/>
                </a:lnTo>
                <a:lnTo>
                  <a:pt x="337211" y="674421"/>
                </a:lnTo>
                <a:cubicBezTo>
                  <a:pt x="174255" y="674421"/>
                  <a:pt x="38295" y="558831"/>
                  <a:pt x="6851" y="405170"/>
                </a:cubicBezTo>
                <a:lnTo>
                  <a:pt x="0" y="337211"/>
                </a:lnTo>
                <a:lnTo>
                  <a:pt x="6851" y="269251"/>
                </a:lnTo>
                <a:cubicBezTo>
                  <a:pt x="38295" y="115590"/>
                  <a:pt x="174255" y="0"/>
                  <a:pt x="337211" y="0"/>
                </a:cubicBezTo>
                <a:close/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00" b="1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D45373-6FF1-E7B4-E238-B7638441406A}"/>
              </a:ext>
            </a:extLst>
          </p:cNvPr>
          <p:cNvSpPr txBox="1"/>
          <p:nvPr/>
        </p:nvSpPr>
        <p:spPr>
          <a:xfrm>
            <a:off x="8807532" y="2345526"/>
            <a:ext cx="1323328" cy="298800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>
              <a:lnSpc>
                <a:spcPts val="1600"/>
              </a:lnSpc>
            </a:pPr>
            <a:r>
              <a:rPr lang="en-US" b="1" noProof="1">
                <a:solidFill>
                  <a:srgbClr val="0460A9"/>
                </a:solidFill>
              </a:rPr>
              <a:t>Request GR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0C5764B-337D-898E-4608-7771C88CA9B4}"/>
              </a:ext>
            </a:extLst>
          </p:cNvPr>
          <p:cNvSpPr txBox="1"/>
          <p:nvPr/>
        </p:nvSpPr>
        <p:spPr>
          <a:xfrm>
            <a:off x="10771079" y="2225591"/>
            <a:ext cx="1172547" cy="51533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>
              <a:lnSpc>
                <a:spcPts val="1600"/>
              </a:lnSpc>
            </a:pPr>
            <a:r>
              <a:rPr lang="en-US" b="1" noProof="1">
                <a:solidFill>
                  <a:srgbClr val="0460A9"/>
                </a:solidFill>
              </a:rPr>
              <a:t>Receive invoice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536F470-A109-D0DD-27A3-2A8148C99639}"/>
              </a:ext>
            </a:extLst>
          </p:cNvPr>
          <p:cNvSpPr txBox="1"/>
          <p:nvPr/>
        </p:nvSpPr>
        <p:spPr>
          <a:xfrm>
            <a:off x="2579717" y="2242934"/>
            <a:ext cx="1172547" cy="50398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>
              <a:lnSpc>
                <a:spcPts val="1600"/>
              </a:lnSpc>
            </a:pPr>
            <a:r>
              <a:rPr lang="en-US" b="1" noProof="1">
                <a:solidFill>
                  <a:srgbClr val="0460A9"/>
                </a:solidFill>
              </a:rPr>
              <a:t>PO reques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6304635-9092-A180-4B46-7539E6C46E7E}"/>
              </a:ext>
            </a:extLst>
          </p:cNvPr>
          <p:cNvSpPr txBox="1"/>
          <p:nvPr/>
        </p:nvSpPr>
        <p:spPr>
          <a:xfrm>
            <a:off x="10517321" y="2917277"/>
            <a:ext cx="1580810" cy="2328843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en-US" sz="1100" b="0" i="0">
                <a:solidFill>
                  <a:srgbClr val="242424"/>
                </a:solidFill>
                <a:effectLst/>
                <a:latin typeface="-apple-system"/>
              </a:rPr>
              <a:t>  </a:t>
            </a:r>
            <a:r>
              <a:rPr lang="en-US" sz="1200" b="0" i="0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uppliers send invoices via ARIBA or directly to Accounts Payable (AP).</a:t>
            </a:r>
          </a:p>
          <a:p>
            <a:pPr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en-US" sz="1200" b="1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Vendors must not be paid before the services have been rendered or goods have been recei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07C0F06-3E72-31C2-138F-971433E11511}"/>
              </a:ext>
            </a:extLst>
          </p:cNvPr>
          <p:cNvSpPr txBox="1"/>
          <p:nvPr/>
        </p:nvSpPr>
        <p:spPr>
          <a:xfrm>
            <a:off x="2342153" y="3026073"/>
            <a:ext cx="1886999" cy="231191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en-US" sz="1200" b="0" i="0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BO submits PO request through </a:t>
            </a:r>
            <a:r>
              <a:rPr lang="en-US" sz="1200" b="1" i="0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SS HUB.</a:t>
            </a:r>
          </a:p>
          <a:p>
            <a:pPr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en-US" sz="1200" b="0" i="0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BO responsible </a:t>
            </a:r>
            <a:r>
              <a:rPr lang="en-US" sz="1200">
                <a:solidFill>
                  <a:srgbClr val="2424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the correct supporting documents </a:t>
            </a:r>
          </a:p>
          <a:p>
            <a:pPr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2424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</a:t>
            </a:r>
            <a:r>
              <a:rPr lang="en-US" sz="120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he vendor is fully onboarded S360 and ready to be used.</a:t>
            </a:r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95000"/>
              </a:lnSpc>
            </a:pPr>
            <a:endParaRPr lang="en-US" sz="1100"/>
          </a:p>
          <a:p>
            <a:pPr algn="ctr">
              <a:lnSpc>
                <a:spcPct val="95000"/>
              </a:lnSpc>
            </a:pPr>
            <a:endParaRPr lang="en-US" sz="1100">
              <a:cs typeface="Arial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174F9A6-9688-11BA-F959-07ED9499DC93}"/>
              </a:ext>
            </a:extLst>
          </p:cNvPr>
          <p:cNvSpPr txBox="1"/>
          <p:nvPr/>
        </p:nvSpPr>
        <p:spPr>
          <a:xfrm>
            <a:off x="8553335" y="2984124"/>
            <a:ext cx="1762663" cy="214520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 Business Owners must let their OSS business partner know much to GR for each PO </a:t>
            </a:r>
            <a:r>
              <a:rPr lang="en-US" sz="1200" b="1">
                <a:latin typeface="Arial" panose="020B0604020202020204" pitchFamily="34" charset="0"/>
                <a:cs typeface="Arial" panose="020B0604020202020204" pitchFamily="34" charset="0"/>
              </a:rPr>
              <a:t>prior to the monthly GR deadline 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to release invoices for payment</a:t>
            </a:r>
          </a:p>
          <a:p>
            <a:pPr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en-US" sz="1200" b="0" i="0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Request GR before </a:t>
            </a:r>
            <a:r>
              <a:rPr lang="en-US" sz="1200">
                <a:solidFill>
                  <a:srgbClr val="2424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eive invoice </a:t>
            </a:r>
            <a:r>
              <a:rPr lang="en-US" sz="1200" b="0" i="0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ctr">
              <a:lnSpc>
                <a:spcPct val="95000"/>
              </a:lnSpc>
            </a:pPr>
            <a:endParaRPr lang="en-US" sz="12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A952C0C-8757-FB97-4930-9E433BC68759}"/>
              </a:ext>
            </a:extLst>
          </p:cNvPr>
          <p:cNvSpPr txBox="1"/>
          <p:nvPr/>
        </p:nvSpPr>
        <p:spPr>
          <a:xfrm>
            <a:off x="6651265" y="2213174"/>
            <a:ext cx="1323328" cy="51533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>
              <a:lnSpc>
                <a:spcPts val="1600"/>
              </a:lnSpc>
            </a:pPr>
            <a:r>
              <a:rPr lang="en-US" b="1" noProof="1">
                <a:solidFill>
                  <a:srgbClr val="0460A9"/>
                </a:solidFill>
              </a:rPr>
              <a:t>PO approved</a:t>
            </a:r>
          </a:p>
        </p:txBody>
      </p:sp>
      <p:sp>
        <p:nvSpPr>
          <p:cNvPr id="24" name="Google Shape;551;p29">
            <a:extLst>
              <a:ext uri="{FF2B5EF4-FFF2-40B4-BE49-F238E27FC236}">
                <a16:creationId xmlns:a16="http://schemas.microsoft.com/office/drawing/2014/main" id="{6A3DC365-F3D0-2A7E-B699-863327E26AC1}"/>
              </a:ext>
            </a:extLst>
          </p:cNvPr>
          <p:cNvSpPr txBox="1"/>
          <p:nvPr/>
        </p:nvSpPr>
        <p:spPr>
          <a:xfrm>
            <a:off x="6395542" y="2837930"/>
            <a:ext cx="1892910" cy="21067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en-US" sz="1100" b="0" i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en-US" sz="1200" b="0" i="0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nce PO is approved OSS team notifies BO and a copy is sent to the supplier</a:t>
            </a:r>
          </a:p>
          <a:p>
            <a:pPr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2424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O is approved through e-shop by </a:t>
            </a:r>
            <a:r>
              <a:rPr lang="en-US" sz="1200" b="1">
                <a:solidFill>
                  <a:srgbClr val="2424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ferent approvers based on MAL/FIKO guidance </a:t>
            </a:r>
            <a:endParaRPr lang="en-CA" sz="1200" b="1">
              <a:latin typeface="Arial" panose="020B0604020202020204" pitchFamily="34" charset="0"/>
              <a:ea typeface="Roboto"/>
              <a:cs typeface="Arial" panose="020B0604020202020204" pitchFamily="34" charset="0"/>
              <a:sym typeface="Roboto"/>
            </a:endParaRPr>
          </a:p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 lang="en-CA" sz="1100">
              <a:ea typeface="Roboto"/>
              <a:cs typeface="Roboto"/>
              <a:sym typeface="Roboto"/>
            </a:endParaRPr>
          </a:p>
          <a:p>
            <a:pPr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endParaRPr lang="en-US" sz="1100" b="0" i="0">
              <a:solidFill>
                <a:srgbClr val="242424"/>
              </a:solidFill>
              <a:effectLst/>
              <a:latin typeface="-apple-system"/>
            </a:endParaRPr>
          </a:p>
          <a:p>
            <a:pPr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endParaRPr lang="en-US" sz="1100" b="0" i="0">
              <a:solidFill>
                <a:srgbClr val="242424"/>
              </a:solidFill>
              <a:effectLst/>
              <a:latin typeface="-apple-system"/>
            </a:endParaRPr>
          </a:p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 lang="en-CA" sz="1100">
              <a:ea typeface="Roboto"/>
              <a:cs typeface="Roboto"/>
              <a:sym typeface="Roboto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F454855-D680-1B03-2E9A-DB391E2EBEFA}"/>
              </a:ext>
            </a:extLst>
          </p:cNvPr>
          <p:cNvSpPr txBox="1"/>
          <p:nvPr/>
        </p:nvSpPr>
        <p:spPr>
          <a:xfrm>
            <a:off x="4606520" y="2247907"/>
            <a:ext cx="1323328" cy="51533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>
              <a:lnSpc>
                <a:spcPts val="1600"/>
              </a:lnSpc>
            </a:pPr>
            <a:r>
              <a:rPr lang="en-US" b="1" noProof="1">
                <a:solidFill>
                  <a:srgbClr val="0460A9"/>
                </a:solidFill>
              </a:rPr>
              <a:t>OSS creates PO</a:t>
            </a:r>
          </a:p>
        </p:txBody>
      </p:sp>
      <p:sp>
        <p:nvSpPr>
          <p:cNvPr id="28" name="Google Shape;551;p29">
            <a:extLst>
              <a:ext uri="{FF2B5EF4-FFF2-40B4-BE49-F238E27FC236}">
                <a16:creationId xmlns:a16="http://schemas.microsoft.com/office/drawing/2014/main" id="{DDB6B6C5-0D63-5F8E-47B4-734D6B12728D}"/>
              </a:ext>
            </a:extLst>
          </p:cNvPr>
          <p:cNvSpPr txBox="1"/>
          <p:nvPr/>
        </p:nvSpPr>
        <p:spPr>
          <a:xfrm>
            <a:off x="4430476" y="2892204"/>
            <a:ext cx="1805668" cy="18668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2424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SS team to review back up documents </a:t>
            </a:r>
          </a:p>
          <a:p>
            <a:pPr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2424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SS team to create PO in eShop and upload documentation for approvers review</a:t>
            </a:r>
          </a:p>
          <a:p>
            <a:pPr algn="l">
              <a:spcBef>
                <a:spcPts val="750"/>
              </a:spcBef>
              <a:spcAft>
                <a:spcPts val="750"/>
              </a:spcAft>
            </a:pPr>
            <a:endParaRPr lang="en-US" sz="1200">
              <a:solidFill>
                <a:srgbClr val="24242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endParaRPr lang="en-US" sz="1200">
              <a:solidFill>
                <a:srgbClr val="24242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1200"/>
          </a:p>
          <a:p>
            <a:pPr algn="ctr"/>
            <a:endParaRPr lang="en-US" sz="110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0361E9A-B171-AD30-10C7-922BA947EAB5}"/>
              </a:ext>
            </a:extLst>
          </p:cNvPr>
          <p:cNvSpPr txBox="1"/>
          <p:nvPr/>
        </p:nvSpPr>
        <p:spPr>
          <a:xfrm>
            <a:off x="248374" y="2196759"/>
            <a:ext cx="1642348" cy="720518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>
              <a:lnSpc>
                <a:spcPts val="1600"/>
              </a:lnSpc>
            </a:pPr>
            <a:r>
              <a:rPr lang="en-US" b="1" noProof="1">
                <a:solidFill>
                  <a:srgbClr val="0460A9"/>
                </a:solidFill>
              </a:rPr>
              <a:t>Busines Owner reviews estimate</a:t>
            </a:r>
          </a:p>
        </p:txBody>
      </p:sp>
      <p:sp>
        <p:nvSpPr>
          <p:cNvPr id="35" name="Google Shape;551;p29">
            <a:extLst>
              <a:ext uri="{FF2B5EF4-FFF2-40B4-BE49-F238E27FC236}">
                <a16:creationId xmlns:a16="http://schemas.microsoft.com/office/drawing/2014/main" id="{02A122B7-0919-4653-4A4C-8E142596C828}"/>
              </a:ext>
            </a:extLst>
          </p:cNvPr>
          <p:cNvSpPr txBox="1"/>
          <p:nvPr/>
        </p:nvSpPr>
        <p:spPr>
          <a:xfrm>
            <a:off x="158584" y="2896361"/>
            <a:ext cx="2101512" cy="18668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en-US" sz="1200" b="0" i="0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Review vendor estimates/proposals.</a:t>
            </a:r>
          </a:p>
          <a:p>
            <a:pPr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en-US" sz="1200" b="0" i="0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Ensure cost breakdown matches contract prices.</a:t>
            </a:r>
          </a:p>
          <a:p>
            <a:pPr algn="l">
              <a:spcBef>
                <a:spcPts val="750"/>
              </a:spcBef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en-US" sz="1200" b="0" i="0">
                <a:solidFill>
                  <a:srgbClr val="24242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Clarify discrepancies with suppliers.</a:t>
            </a: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E0180223-937B-08A0-6798-6FB1FC4553FF}"/>
              </a:ext>
            </a:extLst>
          </p:cNvPr>
          <p:cNvSpPr/>
          <p:nvPr/>
        </p:nvSpPr>
        <p:spPr>
          <a:xfrm rot="10800000">
            <a:off x="10619199" y="2128587"/>
            <a:ext cx="1543933" cy="709344"/>
          </a:xfrm>
          <a:custGeom>
            <a:avLst/>
            <a:gdLst>
              <a:gd name="connsiteX0" fmla="*/ 337211 w 1934731"/>
              <a:gd name="connsiteY0" fmla="*/ 0 h 674421"/>
              <a:gd name="connsiteX1" fmla="*/ 1934731 w 1934731"/>
              <a:gd name="connsiteY1" fmla="*/ 0 h 674421"/>
              <a:gd name="connsiteX2" fmla="*/ 1934731 w 1934731"/>
              <a:gd name="connsiteY2" fmla="*/ 674421 h 674421"/>
              <a:gd name="connsiteX3" fmla="*/ 337211 w 1934731"/>
              <a:gd name="connsiteY3" fmla="*/ 674421 h 674421"/>
              <a:gd name="connsiteX4" fmla="*/ 6851 w 1934731"/>
              <a:gd name="connsiteY4" fmla="*/ 405170 h 674421"/>
              <a:gd name="connsiteX5" fmla="*/ 0 w 1934731"/>
              <a:gd name="connsiteY5" fmla="*/ 337211 h 674421"/>
              <a:gd name="connsiteX6" fmla="*/ 6851 w 1934731"/>
              <a:gd name="connsiteY6" fmla="*/ 269251 h 674421"/>
              <a:gd name="connsiteX7" fmla="*/ 337211 w 1934731"/>
              <a:gd name="connsiteY7" fmla="*/ 0 h 674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34731" h="674421">
                <a:moveTo>
                  <a:pt x="337211" y="0"/>
                </a:moveTo>
                <a:lnTo>
                  <a:pt x="1934731" y="0"/>
                </a:lnTo>
                <a:lnTo>
                  <a:pt x="1934731" y="674421"/>
                </a:lnTo>
                <a:lnTo>
                  <a:pt x="337211" y="674421"/>
                </a:lnTo>
                <a:cubicBezTo>
                  <a:pt x="174255" y="674421"/>
                  <a:pt x="38295" y="558831"/>
                  <a:pt x="6851" y="405170"/>
                </a:cubicBezTo>
                <a:lnTo>
                  <a:pt x="0" y="337211"/>
                </a:lnTo>
                <a:lnTo>
                  <a:pt x="6851" y="269251"/>
                </a:lnTo>
                <a:cubicBezTo>
                  <a:pt x="38295" y="115590"/>
                  <a:pt x="174255" y="0"/>
                  <a:pt x="337211" y="0"/>
                </a:cubicBezTo>
                <a:close/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00" b="1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D0151727-02A8-83C6-D4BF-FE2E5A15FC27}"/>
              </a:ext>
            </a:extLst>
          </p:cNvPr>
          <p:cNvSpPr/>
          <p:nvPr/>
        </p:nvSpPr>
        <p:spPr>
          <a:xfrm>
            <a:off x="8638163" y="2167035"/>
            <a:ext cx="1674066" cy="684511"/>
          </a:xfrm>
          <a:custGeom>
            <a:avLst/>
            <a:gdLst>
              <a:gd name="connsiteX0" fmla="*/ 0 w 1930679"/>
              <a:gd name="connsiteY0" fmla="*/ 0 h 674422"/>
              <a:gd name="connsiteX1" fmla="*/ 1930679 w 1930679"/>
              <a:gd name="connsiteY1" fmla="*/ 0 h 674422"/>
              <a:gd name="connsiteX2" fmla="*/ 1930679 w 1930679"/>
              <a:gd name="connsiteY2" fmla="*/ 674422 h 674422"/>
              <a:gd name="connsiteX3" fmla="*/ 0 w 1930679"/>
              <a:gd name="connsiteY3" fmla="*/ 674422 h 674422"/>
              <a:gd name="connsiteX4" fmla="*/ 0 w 1930679"/>
              <a:gd name="connsiteY4" fmla="*/ 0 h 674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30679" h="674422">
                <a:moveTo>
                  <a:pt x="0" y="0"/>
                </a:moveTo>
                <a:lnTo>
                  <a:pt x="1930679" y="0"/>
                </a:lnTo>
                <a:lnTo>
                  <a:pt x="1930679" y="674422"/>
                </a:lnTo>
                <a:lnTo>
                  <a:pt x="0" y="674422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235098FF-BC49-A70D-726B-541F0553ADE1}"/>
              </a:ext>
            </a:extLst>
          </p:cNvPr>
          <p:cNvSpPr/>
          <p:nvPr/>
        </p:nvSpPr>
        <p:spPr>
          <a:xfrm>
            <a:off x="6527374" y="2161713"/>
            <a:ext cx="1674066" cy="684511"/>
          </a:xfrm>
          <a:custGeom>
            <a:avLst/>
            <a:gdLst>
              <a:gd name="connsiteX0" fmla="*/ 0 w 1930679"/>
              <a:gd name="connsiteY0" fmla="*/ 0 h 674422"/>
              <a:gd name="connsiteX1" fmla="*/ 1930679 w 1930679"/>
              <a:gd name="connsiteY1" fmla="*/ 0 h 674422"/>
              <a:gd name="connsiteX2" fmla="*/ 1930679 w 1930679"/>
              <a:gd name="connsiteY2" fmla="*/ 674422 h 674422"/>
              <a:gd name="connsiteX3" fmla="*/ 0 w 1930679"/>
              <a:gd name="connsiteY3" fmla="*/ 674422 h 674422"/>
              <a:gd name="connsiteX4" fmla="*/ 0 w 1930679"/>
              <a:gd name="connsiteY4" fmla="*/ 0 h 674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30679" h="674422">
                <a:moveTo>
                  <a:pt x="0" y="0"/>
                </a:moveTo>
                <a:lnTo>
                  <a:pt x="1930679" y="0"/>
                </a:lnTo>
                <a:lnTo>
                  <a:pt x="1930679" y="674422"/>
                </a:lnTo>
                <a:lnTo>
                  <a:pt x="0" y="674422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F9CAB18A-96C3-CF22-1C23-266598F8B0CE}"/>
              </a:ext>
            </a:extLst>
          </p:cNvPr>
          <p:cNvSpPr/>
          <p:nvPr/>
        </p:nvSpPr>
        <p:spPr>
          <a:xfrm>
            <a:off x="4426348" y="2161714"/>
            <a:ext cx="1674066" cy="684511"/>
          </a:xfrm>
          <a:custGeom>
            <a:avLst/>
            <a:gdLst>
              <a:gd name="connsiteX0" fmla="*/ 0 w 1930679"/>
              <a:gd name="connsiteY0" fmla="*/ 0 h 674422"/>
              <a:gd name="connsiteX1" fmla="*/ 1930679 w 1930679"/>
              <a:gd name="connsiteY1" fmla="*/ 0 h 674422"/>
              <a:gd name="connsiteX2" fmla="*/ 1930679 w 1930679"/>
              <a:gd name="connsiteY2" fmla="*/ 674422 h 674422"/>
              <a:gd name="connsiteX3" fmla="*/ 0 w 1930679"/>
              <a:gd name="connsiteY3" fmla="*/ 674422 h 674422"/>
              <a:gd name="connsiteX4" fmla="*/ 0 w 1930679"/>
              <a:gd name="connsiteY4" fmla="*/ 0 h 674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30679" h="674422">
                <a:moveTo>
                  <a:pt x="0" y="0"/>
                </a:moveTo>
                <a:lnTo>
                  <a:pt x="1930679" y="0"/>
                </a:lnTo>
                <a:lnTo>
                  <a:pt x="1930679" y="674422"/>
                </a:lnTo>
                <a:lnTo>
                  <a:pt x="0" y="674422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8CB77758-2AD5-A049-ADD6-425E6D79A0B1}"/>
              </a:ext>
            </a:extLst>
          </p:cNvPr>
          <p:cNvSpPr/>
          <p:nvPr/>
        </p:nvSpPr>
        <p:spPr>
          <a:xfrm>
            <a:off x="2369291" y="2156283"/>
            <a:ext cx="1674066" cy="684511"/>
          </a:xfrm>
          <a:custGeom>
            <a:avLst/>
            <a:gdLst>
              <a:gd name="connsiteX0" fmla="*/ 0 w 1930679"/>
              <a:gd name="connsiteY0" fmla="*/ 0 h 674422"/>
              <a:gd name="connsiteX1" fmla="*/ 1930679 w 1930679"/>
              <a:gd name="connsiteY1" fmla="*/ 0 h 674422"/>
              <a:gd name="connsiteX2" fmla="*/ 1930679 w 1930679"/>
              <a:gd name="connsiteY2" fmla="*/ 674422 h 674422"/>
              <a:gd name="connsiteX3" fmla="*/ 0 w 1930679"/>
              <a:gd name="connsiteY3" fmla="*/ 674422 h 674422"/>
              <a:gd name="connsiteX4" fmla="*/ 0 w 1930679"/>
              <a:gd name="connsiteY4" fmla="*/ 0 h 674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30679" h="674422">
                <a:moveTo>
                  <a:pt x="0" y="0"/>
                </a:moveTo>
                <a:lnTo>
                  <a:pt x="1930679" y="0"/>
                </a:lnTo>
                <a:lnTo>
                  <a:pt x="1930679" y="674422"/>
                </a:lnTo>
                <a:lnTo>
                  <a:pt x="0" y="674422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8355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893B2F-EDA3-6ECC-1FB6-56EA335194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328" y="527025"/>
            <a:ext cx="7364412" cy="1065278"/>
          </a:xfrm>
        </p:spPr>
        <p:txBody>
          <a:bodyPr/>
          <a:lstStyle/>
          <a:p>
            <a:r>
              <a:rPr lang="en-CA"/>
              <a:t>Information Needed For PO Creation 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733A64-7CAE-3980-DE1B-67BD2202D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CB0E19-F4C8-4F98-96D2-CE1ECDE59975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3ABEB5-D1E7-4177-2C9B-11DAD89C8F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6923" y="1875757"/>
            <a:ext cx="6025976" cy="357254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C0F734A-9BC1-55B0-E97F-08A44C9A5B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318" y="1894807"/>
            <a:ext cx="5294803" cy="337089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" name="Right Brace 4">
            <a:extLst>
              <a:ext uri="{FF2B5EF4-FFF2-40B4-BE49-F238E27FC236}">
                <a16:creationId xmlns:a16="http://schemas.microsoft.com/office/drawing/2014/main" id="{BBB87AAA-D49E-00EE-505B-2BA7B06934F0}"/>
              </a:ext>
            </a:extLst>
          </p:cNvPr>
          <p:cNvSpPr/>
          <p:nvPr/>
        </p:nvSpPr>
        <p:spPr>
          <a:xfrm>
            <a:off x="2839720" y="2045908"/>
            <a:ext cx="314960" cy="955675"/>
          </a:xfrm>
          <a:prstGeom prst="rightBrace">
            <a:avLst/>
          </a:prstGeom>
          <a:ln w="12700">
            <a:solidFill>
              <a:srgbClr val="0460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ight Brace 6">
            <a:extLst>
              <a:ext uri="{FF2B5EF4-FFF2-40B4-BE49-F238E27FC236}">
                <a16:creationId xmlns:a16="http://schemas.microsoft.com/office/drawing/2014/main" id="{37883F9E-6A2D-2B11-0D15-18539600D128}"/>
              </a:ext>
            </a:extLst>
          </p:cNvPr>
          <p:cNvSpPr/>
          <p:nvPr/>
        </p:nvSpPr>
        <p:spPr>
          <a:xfrm>
            <a:off x="3173008" y="3149600"/>
            <a:ext cx="314960" cy="217907"/>
          </a:xfrm>
          <a:prstGeom prst="rightBrace">
            <a:avLst/>
          </a:prstGeom>
          <a:ln w="12700">
            <a:solidFill>
              <a:srgbClr val="0460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5818971-8293-A3D5-7D3C-222EDA9EA178}"/>
              </a:ext>
            </a:extLst>
          </p:cNvPr>
          <p:cNvSpPr txBox="1"/>
          <p:nvPr/>
        </p:nvSpPr>
        <p:spPr>
          <a:xfrm>
            <a:off x="3275878" y="2453357"/>
            <a:ext cx="1734820" cy="3556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f unsure, contact BP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0A6C749-C793-DBF1-6B3A-0AD5E7D4B1F4}"/>
              </a:ext>
            </a:extLst>
          </p:cNvPr>
          <p:cNvSpPr txBox="1"/>
          <p:nvPr/>
        </p:nvSpPr>
        <p:spPr>
          <a:xfrm>
            <a:off x="3531234" y="3167502"/>
            <a:ext cx="1912620" cy="3556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f unsure, contact Procurement</a:t>
            </a:r>
          </a:p>
        </p:txBody>
      </p:sp>
      <p:sp>
        <p:nvSpPr>
          <p:cNvPr id="3" name="Right Brace 2">
            <a:extLst>
              <a:ext uri="{FF2B5EF4-FFF2-40B4-BE49-F238E27FC236}">
                <a16:creationId xmlns:a16="http://schemas.microsoft.com/office/drawing/2014/main" id="{F3FFE027-3BF3-4CAC-D188-3642319AE150}"/>
              </a:ext>
            </a:extLst>
          </p:cNvPr>
          <p:cNvSpPr/>
          <p:nvPr/>
        </p:nvSpPr>
        <p:spPr>
          <a:xfrm>
            <a:off x="1882688" y="4399280"/>
            <a:ext cx="314960" cy="217907"/>
          </a:xfrm>
          <a:prstGeom prst="rightBrace">
            <a:avLst/>
          </a:prstGeom>
          <a:ln w="12700">
            <a:solidFill>
              <a:srgbClr val="0460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F08356F-D30F-5EE3-3461-1B8EDA36299C}"/>
              </a:ext>
            </a:extLst>
          </p:cNvPr>
          <p:cNvSpPr txBox="1"/>
          <p:nvPr/>
        </p:nvSpPr>
        <p:spPr>
          <a:xfrm>
            <a:off x="2240914" y="4417182"/>
            <a:ext cx="1912620" cy="3556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f unsure, contact R2R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4499E1D-EF75-BECA-F9C0-6145EF2F617C}"/>
              </a:ext>
            </a:extLst>
          </p:cNvPr>
          <p:cNvCxnSpPr/>
          <p:nvPr/>
        </p:nvCxnSpPr>
        <p:spPr>
          <a:xfrm>
            <a:off x="3393440" y="4622800"/>
            <a:ext cx="1127760" cy="386080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08220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5">
            <a:extLst>
              <a:ext uri="{FF2B5EF4-FFF2-40B4-BE49-F238E27FC236}">
                <a16:creationId xmlns:a16="http://schemas.microsoft.com/office/drawing/2014/main" id="{EE5DCEFE-93FE-6DEB-7F49-21554D5E304C}"/>
              </a:ext>
            </a:extLst>
          </p:cNvPr>
          <p:cNvSpPr txBox="1">
            <a:spLocks/>
          </p:cNvSpPr>
          <p:nvPr/>
        </p:nvSpPr>
        <p:spPr>
          <a:xfrm>
            <a:off x="604837" y="532597"/>
            <a:ext cx="9650207" cy="106527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000" b="1" kern="1200">
                <a:solidFill>
                  <a:srgbClr val="002068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GR Process &amp; Deadlines</a:t>
            </a:r>
            <a:endParaRPr kumimoji="0" lang="en-CA" sz="3200" b="1" i="0" u="none" strike="noStrike" kern="1200" cap="none" spc="0" normalizeH="0" baseline="0" noProof="0">
              <a:ln>
                <a:noFill/>
              </a:ln>
              <a:solidFill>
                <a:srgbClr val="002068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9B69483-A7EB-C16B-A896-0D31890D3C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1402363"/>
              </p:ext>
            </p:extLst>
          </p:nvPr>
        </p:nvGraphicFramePr>
        <p:xfrm>
          <a:off x="1164070" y="1584664"/>
          <a:ext cx="3636530" cy="42804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04958">
                  <a:extLst>
                    <a:ext uri="{9D8B030D-6E8A-4147-A177-3AD203B41FA5}">
                      <a16:colId xmlns:a16="http://schemas.microsoft.com/office/drawing/2014/main" val="2776635077"/>
                    </a:ext>
                  </a:extLst>
                </a:gridCol>
                <a:gridCol w="2231572">
                  <a:extLst>
                    <a:ext uri="{9D8B030D-6E8A-4147-A177-3AD203B41FA5}">
                      <a16:colId xmlns:a16="http://schemas.microsoft.com/office/drawing/2014/main" val="1003536381"/>
                    </a:ext>
                  </a:extLst>
                </a:gridCol>
              </a:tblGrid>
              <a:tr h="535051">
                <a:tc>
                  <a:txBody>
                    <a:bodyPr/>
                    <a:lstStyle/>
                    <a:p>
                      <a:pPr algn="ctr"/>
                      <a:r>
                        <a:rPr lang="fr-CA" err="1"/>
                        <a:t>Month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/>
                        <a:t>Deadline</a:t>
                      </a:r>
                      <a:endParaRPr lang="en-US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21362478"/>
                  </a:ext>
                </a:extLst>
              </a:tr>
              <a:tr h="535051">
                <a:tc>
                  <a:txBody>
                    <a:bodyPr/>
                    <a:lstStyle/>
                    <a:p>
                      <a:pPr algn="ctr"/>
                      <a:r>
                        <a:rPr lang="fr-CA"/>
                        <a:t>May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/>
                        <a:t>May 2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43255484"/>
                  </a:ext>
                </a:extLst>
              </a:tr>
              <a:tr h="535051">
                <a:tc>
                  <a:txBody>
                    <a:bodyPr/>
                    <a:lstStyle/>
                    <a:p>
                      <a:pPr algn="ctr"/>
                      <a:r>
                        <a:rPr lang="fr-CA"/>
                        <a:t>June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/>
                        <a:t>June 2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80293908"/>
                  </a:ext>
                </a:extLst>
              </a:tr>
              <a:tr h="535051">
                <a:tc>
                  <a:txBody>
                    <a:bodyPr/>
                    <a:lstStyle/>
                    <a:p>
                      <a:pPr algn="ctr"/>
                      <a:r>
                        <a:rPr lang="fr-CA"/>
                        <a:t>July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/>
                        <a:t>July 2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91012203"/>
                  </a:ext>
                </a:extLst>
              </a:tr>
              <a:tr h="535051">
                <a:tc>
                  <a:txBody>
                    <a:bodyPr/>
                    <a:lstStyle/>
                    <a:p>
                      <a:pPr algn="ctr"/>
                      <a:r>
                        <a:rPr lang="fr-CA"/>
                        <a:t>August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/>
                        <a:t>August 2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81495549"/>
                  </a:ext>
                </a:extLst>
              </a:tr>
              <a:tr h="535051">
                <a:tc>
                  <a:txBody>
                    <a:bodyPr/>
                    <a:lstStyle/>
                    <a:p>
                      <a:pPr algn="ctr"/>
                      <a:r>
                        <a:rPr lang="fr-CA" err="1"/>
                        <a:t>September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/>
                        <a:t>September 2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8484421"/>
                  </a:ext>
                </a:extLst>
              </a:tr>
              <a:tr h="535051">
                <a:tc>
                  <a:txBody>
                    <a:bodyPr/>
                    <a:lstStyle/>
                    <a:p>
                      <a:pPr algn="ctr"/>
                      <a:r>
                        <a:rPr lang="fr-CA" err="1"/>
                        <a:t>October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/>
                        <a:t>October 2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98257028"/>
                  </a:ext>
                </a:extLst>
              </a:tr>
              <a:tr h="535051">
                <a:tc>
                  <a:txBody>
                    <a:bodyPr/>
                    <a:lstStyle/>
                    <a:p>
                      <a:pPr algn="ctr"/>
                      <a:r>
                        <a:rPr lang="fr-CA" err="1"/>
                        <a:t>November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/>
                        <a:t>November 2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94709875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C4C236CD-7063-7524-00DF-79CFFFCE3F45}"/>
              </a:ext>
            </a:extLst>
          </p:cNvPr>
          <p:cNvSpPr txBox="1"/>
          <p:nvPr/>
        </p:nvSpPr>
        <p:spPr>
          <a:xfrm>
            <a:off x="5429940" y="1584664"/>
            <a:ext cx="6010946" cy="428040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R="0" lvl="0" indent="0" fontAlgn="auto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1" i="0" u="none" strike="noStrike" cap="none" spc="0" normalizeH="0" baseline="0">
                <a:ln>
                  <a:noFill/>
                </a:ln>
                <a:solidFill>
                  <a:srgbClr val="00206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defRPr>
            </a:lvl1pPr>
          </a:lstStyle>
          <a:p>
            <a:r>
              <a:rPr lang="fr-CA"/>
              <a:t>Process</a:t>
            </a:r>
          </a:p>
          <a:p>
            <a:endParaRPr lang="en-CA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CA" sz="1800" b="0">
                <a:solidFill>
                  <a:schemeClr val="dk1"/>
                </a:solidFill>
                <a:latin typeface="+mn-lt"/>
                <a:ea typeface="+mn-ea"/>
                <a:cs typeface="+mn-cs"/>
              </a:rPr>
              <a:t>Connect with your OSS SPOC around mid-month to align on what needs to be part of the monthly GRs and keep them updated of any fluctuation ahead of the deadline</a:t>
            </a:r>
          </a:p>
          <a:p>
            <a:endParaRPr lang="fr-CA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fr-CA" sz="1800" u="sng" err="1">
                <a:solidFill>
                  <a:schemeClr val="dk1"/>
                </a:solidFill>
                <a:latin typeface="+mn-lt"/>
                <a:ea typeface="+mn-ea"/>
                <a:cs typeface="+mn-cs"/>
              </a:rPr>
              <a:t>December</a:t>
            </a:r>
            <a:r>
              <a:rPr lang="fr-CA" sz="1800" u="sng">
                <a:solidFill>
                  <a:schemeClr val="dk1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CA" sz="1800" u="sng" err="1">
                <a:solidFill>
                  <a:schemeClr val="dk1"/>
                </a:solidFill>
                <a:latin typeface="+mn-lt"/>
                <a:ea typeface="+mn-ea"/>
                <a:cs typeface="+mn-cs"/>
              </a:rPr>
              <a:t>Ways</a:t>
            </a:r>
            <a:r>
              <a:rPr lang="fr-CA" sz="1800" u="sng">
                <a:solidFill>
                  <a:schemeClr val="dk1"/>
                </a:solidFill>
                <a:latin typeface="+mn-lt"/>
                <a:ea typeface="+mn-ea"/>
                <a:cs typeface="+mn-cs"/>
              </a:rPr>
              <a:t> of </a:t>
            </a:r>
            <a:r>
              <a:rPr lang="fr-CA" sz="1800" u="sng" err="1">
                <a:solidFill>
                  <a:schemeClr val="dk1"/>
                </a:solidFill>
                <a:latin typeface="+mn-lt"/>
                <a:ea typeface="+mn-ea"/>
                <a:cs typeface="+mn-cs"/>
              </a:rPr>
              <a:t>Working</a:t>
            </a:r>
            <a:endParaRPr lang="fr-CA" sz="1800" u="sng">
              <a:solidFill>
                <a:schemeClr val="dk1"/>
              </a:solidFill>
              <a:latin typeface="+mn-lt"/>
              <a:ea typeface="+mn-ea"/>
              <a:cs typeface="+mn-cs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fr-CA" sz="1800">
              <a:solidFill>
                <a:schemeClr val="dk1"/>
              </a:solidFill>
              <a:latin typeface="+mn-lt"/>
              <a:ea typeface="+mn-ea"/>
              <a:cs typeface="+mn-cs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b="0">
                <a:solidFill>
                  <a:schemeClr val="dk1"/>
                </a:solidFill>
                <a:latin typeface="+mn-lt"/>
                <a:ea typeface="+mn-ea"/>
                <a:cs typeface="+mn-cs"/>
              </a:rPr>
              <a:t>In November, finance will run a year-end training and they will provide all December deadlines </a:t>
            </a:r>
          </a:p>
        </p:txBody>
      </p:sp>
    </p:spTree>
    <p:extLst>
      <p:ext uri="{BB962C8B-B14F-4D97-AF65-F5344CB8AC3E}">
        <p14:creationId xmlns:p14="http://schemas.microsoft.com/office/powerpoint/2010/main" val="10852279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vartis | Reimagining Medicine">
  <a:themeElements>
    <a:clrScheme name="Novartis">
      <a:dk1>
        <a:srgbClr val="000000"/>
      </a:dk1>
      <a:lt1>
        <a:srgbClr val="FFFFFF"/>
      </a:lt1>
      <a:dk2>
        <a:srgbClr val="000000"/>
      </a:dk2>
      <a:lt2>
        <a:srgbClr val="FFC100"/>
      </a:lt2>
      <a:accent1>
        <a:srgbClr val="002068"/>
      </a:accent1>
      <a:accent2>
        <a:srgbClr val="8F2DDE"/>
      </a:accent2>
      <a:accent3>
        <a:srgbClr val="50E2D0"/>
      </a:accent3>
      <a:accent4>
        <a:srgbClr val="A7A8AA"/>
      </a:accent4>
      <a:accent5>
        <a:srgbClr val="D0D0D0"/>
      </a:accent5>
      <a:accent6>
        <a:srgbClr val="0460A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>
          <a:solidFill>
            <a:srgbClr val="0460A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vartis_PPT_16x9_Novartis_RM_Logo" id="{FECDEB66-9CE0-704E-BE84-DA3B331DA161}" vid="{8A11138C-249F-3A46-AAB6-73AA31FC4DB7}"/>
    </a:ext>
  </a:extLst>
</a:theme>
</file>

<file path=ppt/theme/theme2.xml><?xml version="1.0" encoding="utf-8"?>
<a:theme xmlns:a="http://schemas.openxmlformats.org/drawingml/2006/main" name="1_Novartis | Reimagining Medicine">
  <a:themeElements>
    <a:clrScheme name="Novartis RM">
      <a:dk1>
        <a:srgbClr val="000000"/>
      </a:dk1>
      <a:lt1>
        <a:srgbClr val="FFFFFF"/>
      </a:lt1>
      <a:dk2>
        <a:srgbClr val="002068"/>
      </a:dk2>
      <a:lt2>
        <a:srgbClr val="FFFFFF"/>
      </a:lt2>
      <a:accent1>
        <a:srgbClr val="002068"/>
      </a:accent1>
      <a:accent2>
        <a:srgbClr val="FF585D"/>
      </a:accent2>
      <a:accent3>
        <a:srgbClr val="FFC100"/>
      </a:accent3>
      <a:accent4>
        <a:srgbClr val="A7A8AA"/>
      </a:accent4>
      <a:accent5>
        <a:srgbClr val="D0D0D0"/>
      </a:accent5>
      <a:accent6>
        <a:srgbClr val="0460A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>
          <a:solidFill>
            <a:srgbClr val="0460A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rmAutofit/>
      </a:bodyPr>
      <a:lstStyle>
        <a:defPPr algn="l">
          <a:lnSpc>
            <a:spcPct val="95000"/>
          </a:lnSpc>
          <a:defRPr sz="1000" b="1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Novartis_PPT_16x9_Novartis_RMLogo" id="{ACE6FC46-E03B-F841-AA6A-8979E8F75529}" vid="{0DC83B58-7FB5-2248-8925-2A7A7529249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2_Novartis | Reimagining Medicine">
  <a:themeElements>
    <a:clrScheme name="Novartis RM">
      <a:dk1>
        <a:srgbClr val="000000"/>
      </a:dk1>
      <a:lt1>
        <a:srgbClr val="FFFFFF"/>
      </a:lt1>
      <a:dk2>
        <a:srgbClr val="002068"/>
      </a:dk2>
      <a:lt2>
        <a:srgbClr val="FFFFFF"/>
      </a:lt2>
      <a:accent1>
        <a:srgbClr val="002068"/>
      </a:accent1>
      <a:accent2>
        <a:srgbClr val="FF585D"/>
      </a:accent2>
      <a:accent3>
        <a:srgbClr val="FFC100"/>
      </a:accent3>
      <a:accent4>
        <a:srgbClr val="A7A8AA"/>
      </a:accent4>
      <a:accent5>
        <a:srgbClr val="D0D0D0"/>
      </a:accent5>
      <a:accent6>
        <a:srgbClr val="0460A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>
          <a:solidFill>
            <a:srgbClr val="0460A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rmAutofit/>
      </a:bodyPr>
      <a:lstStyle>
        <a:defPPr algn="l">
          <a:lnSpc>
            <a:spcPct val="95000"/>
          </a:lnSpc>
          <a:defRPr sz="1000" b="1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Novartis_PPT_16x9_Novartis_RMLogo" id="{ACE6FC46-E03B-F841-AA6A-8979E8F75529}" vid="{0DC83B58-7FB5-2248-8925-2A7A75292491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91</Words>
  <Application>Microsoft Office PowerPoint</Application>
  <PresentationFormat>Widescreen</PresentationFormat>
  <Paragraphs>238</Paragraphs>
  <Slides>18</Slides>
  <Notes>4</Notes>
  <HiddenSlides>2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3" baseType="lpstr">
      <vt:lpstr>-apple-system</vt:lpstr>
      <vt:lpstr>Aptos</vt:lpstr>
      <vt:lpstr>Aptos Display</vt:lpstr>
      <vt:lpstr>Arial</vt:lpstr>
      <vt:lpstr>Calibri</vt:lpstr>
      <vt:lpstr>Montserrat</vt:lpstr>
      <vt:lpstr>Ping LCG Medium</vt:lpstr>
      <vt:lpstr>Roboto</vt:lpstr>
      <vt:lpstr>Symbol</vt:lpstr>
      <vt:lpstr>Wingdings</vt:lpstr>
      <vt:lpstr>Novartis | Reimagining Medicine</vt:lpstr>
      <vt:lpstr>1_Novartis | Reimagining Medicine</vt:lpstr>
      <vt:lpstr>Office Theme</vt:lpstr>
      <vt:lpstr>2_Novartis | Reimagining Medicine</vt:lpstr>
      <vt:lpstr>think-cell Slide</vt:lpstr>
      <vt:lpstr>Operations Support Specialists (OSS) Information Session  May 14th, 2025 </vt:lpstr>
      <vt:lpstr>PowerPoint Presentation</vt:lpstr>
      <vt:lpstr>PowerPoint Presentation</vt:lpstr>
      <vt:lpstr>PowerPoint Presentation</vt:lpstr>
      <vt:lpstr>Operations Support Specialists</vt:lpstr>
      <vt:lpstr>PowerPoint Presentation</vt:lpstr>
      <vt:lpstr>End to End PO process</vt:lpstr>
      <vt:lpstr>Information Needed For PO Creation  </vt:lpstr>
      <vt:lpstr>PowerPoint Presentation</vt:lpstr>
      <vt:lpstr>Payment Request: BeSure Business Owner Responsibilities</vt:lpstr>
      <vt:lpstr>End to End Payment Request Process</vt:lpstr>
      <vt:lpstr>Payment Request Turnaround</vt:lpstr>
      <vt:lpstr>Information needed for Payment Requests </vt:lpstr>
      <vt:lpstr>Medical Operations (3EM)</vt:lpstr>
      <vt:lpstr>PowerPoint Presentation</vt:lpstr>
      <vt:lpstr>PowerPoint Presentation</vt:lpstr>
      <vt:lpstr>PowerPoint Presentation</vt:lpstr>
      <vt:lpstr>Ques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imard, Eric</dc:creator>
  <cp:lastModifiedBy>Keeley Baril</cp:lastModifiedBy>
  <cp:revision>2</cp:revision>
  <dcterms:created xsi:type="dcterms:W3CDTF">2025-05-05T14:09:34Z</dcterms:created>
  <dcterms:modified xsi:type="dcterms:W3CDTF">2025-05-16T21:04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c9bec58-8084-492e-8360-0e1cfe36408c_Enabled">
    <vt:lpwstr>true</vt:lpwstr>
  </property>
  <property fmtid="{D5CDD505-2E9C-101B-9397-08002B2CF9AE}" pid="3" name="MSIP_Label_3c9bec58-8084-492e-8360-0e1cfe36408c_SetDate">
    <vt:lpwstr>2025-05-05T14:10:31Z</vt:lpwstr>
  </property>
  <property fmtid="{D5CDD505-2E9C-101B-9397-08002B2CF9AE}" pid="4" name="MSIP_Label_3c9bec58-8084-492e-8360-0e1cfe36408c_Method">
    <vt:lpwstr>Standard</vt:lpwstr>
  </property>
  <property fmtid="{D5CDD505-2E9C-101B-9397-08002B2CF9AE}" pid="5" name="MSIP_Label_3c9bec58-8084-492e-8360-0e1cfe36408c_Name">
    <vt:lpwstr>Not Protected -Pilot</vt:lpwstr>
  </property>
  <property fmtid="{D5CDD505-2E9C-101B-9397-08002B2CF9AE}" pid="6" name="MSIP_Label_3c9bec58-8084-492e-8360-0e1cfe36408c_SiteId">
    <vt:lpwstr>f35a6974-607f-47d4-82d7-ff31d7dc53a5</vt:lpwstr>
  </property>
  <property fmtid="{D5CDD505-2E9C-101B-9397-08002B2CF9AE}" pid="7" name="MSIP_Label_3c9bec58-8084-492e-8360-0e1cfe36408c_ActionId">
    <vt:lpwstr>ff490166-367f-44f0-9d15-eebda5a514a9</vt:lpwstr>
  </property>
  <property fmtid="{D5CDD505-2E9C-101B-9397-08002B2CF9AE}" pid="8" name="MSIP_Label_3c9bec58-8084-492e-8360-0e1cfe36408c_ContentBits">
    <vt:lpwstr>0</vt:lpwstr>
  </property>
  <property fmtid="{D5CDD505-2E9C-101B-9397-08002B2CF9AE}" pid="9" name="MSIP_Label_3c9bec58-8084-492e-8360-0e1cfe36408c_Tag">
    <vt:lpwstr>10, 3, 0, 1</vt:lpwstr>
  </property>
</Properties>
</file>